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  <p:sldMasterId id="2147483760" r:id="rId2"/>
  </p:sldMasterIdLst>
  <p:notesMasterIdLst>
    <p:notesMasterId r:id="rId29"/>
  </p:notesMasterIdLst>
  <p:handoutMasterIdLst>
    <p:handoutMasterId r:id="rId30"/>
  </p:handoutMasterIdLst>
  <p:sldIdLst>
    <p:sldId id="499" r:id="rId3"/>
    <p:sldId id="504" r:id="rId4"/>
    <p:sldId id="502" r:id="rId5"/>
    <p:sldId id="501" r:id="rId6"/>
    <p:sldId id="505" r:id="rId7"/>
    <p:sldId id="506" r:id="rId8"/>
    <p:sldId id="518" r:id="rId9"/>
    <p:sldId id="519" r:id="rId10"/>
    <p:sldId id="520" r:id="rId11"/>
    <p:sldId id="521" r:id="rId12"/>
    <p:sldId id="522" r:id="rId13"/>
    <p:sldId id="523" r:id="rId14"/>
    <p:sldId id="517" r:id="rId15"/>
    <p:sldId id="509" r:id="rId16"/>
    <p:sldId id="507" r:id="rId17"/>
    <p:sldId id="508" r:id="rId18"/>
    <p:sldId id="510" r:id="rId19"/>
    <p:sldId id="511" r:id="rId20"/>
    <p:sldId id="512" r:id="rId21"/>
    <p:sldId id="514" r:id="rId22"/>
    <p:sldId id="515" r:id="rId23"/>
    <p:sldId id="516" r:id="rId24"/>
    <p:sldId id="513" r:id="rId25"/>
    <p:sldId id="498" r:id="rId26"/>
    <p:sldId id="483" r:id="rId27"/>
    <p:sldId id="475" r:id="rId28"/>
  </p:sldIdLst>
  <p:sldSz cx="9147175" cy="5145088"/>
  <p:notesSz cx="9144000" cy="6858000"/>
  <p:embeddedFontLst>
    <p:embeddedFont>
      <p:font typeface="Microsoft YaHei" panose="020B0503020204020204" pitchFamily="34" charset="-122"/>
      <p:regular r:id="rId31"/>
      <p:bold r:id="rId32"/>
    </p:embeddedFont>
    <p:embeddedFont>
      <p:font typeface="Volvo Novum" panose="020B0503040502060204" pitchFamily="34" charset="0"/>
      <p:regular r:id="rId33"/>
      <p:bold r:id="rId34"/>
      <p:italic r:id="rId35"/>
      <p:boldItalic r:id="rId36"/>
    </p:embeddedFont>
    <p:embeddedFont>
      <p:font typeface="Volvo Novum Light" panose="020B0303040502060204" pitchFamily="34" charset="0"/>
      <p:regular r:id="rId37"/>
      <p:italic r:id="rId38"/>
    </p:embeddedFont>
    <p:embeddedFont>
      <p:font typeface="Volvo Novum Medium" panose="020B0603040502060204" pitchFamily="34" charset="0"/>
      <p:regular r:id="rId39"/>
      <p:italic r:id="rId40"/>
    </p:embeddedFont>
  </p:embeddedFontLst>
  <p:custDataLst>
    <p:tags r:id="rId41"/>
  </p:custDataLst>
  <p:defaultTextStyle>
    <a:defPPr>
      <a:defRPr lang="sv-S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lvo Cars" id="{4FEFBD6D-607F-114B-812C-22ECD031E51E}">
          <p14:sldIdLst>
            <p14:sldId id="499"/>
            <p14:sldId id="504"/>
            <p14:sldId id="502"/>
            <p14:sldId id="501"/>
            <p14:sldId id="505"/>
            <p14:sldId id="506"/>
            <p14:sldId id="518"/>
            <p14:sldId id="519"/>
            <p14:sldId id="520"/>
            <p14:sldId id="521"/>
            <p14:sldId id="522"/>
            <p14:sldId id="523"/>
            <p14:sldId id="517"/>
            <p14:sldId id="509"/>
            <p14:sldId id="507"/>
            <p14:sldId id="508"/>
            <p14:sldId id="510"/>
            <p14:sldId id="511"/>
            <p14:sldId id="512"/>
            <p14:sldId id="514"/>
            <p14:sldId id="515"/>
            <p14:sldId id="516"/>
            <p14:sldId id="513"/>
            <p14:sldId id="498"/>
            <p14:sldId id="483"/>
            <p14:sldId id="4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4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1" autoAdjust="0"/>
    <p:restoredTop sz="96224" autoAdjust="0"/>
  </p:normalViewPr>
  <p:slideViewPr>
    <p:cSldViewPr snapToObjects="1">
      <p:cViewPr varScale="1">
        <p:scale>
          <a:sx n="204" d="100"/>
          <a:sy n="204" d="100"/>
        </p:scale>
        <p:origin x="700" y="1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157" d="100"/>
          <a:sy n="157" d="100"/>
        </p:scale>
        <p:origin x="4040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9.fntdata"/><Relationship Id="rId21" Type="http://schemas.openxmlformats.org/officeDocument/2006/relationships/slide" Target="slides/slide19.xml"/><Relationship Id="rId34" Type="http://schemas.openxmlformats.org/officeDocument/2006/relationships/font" Target="fonts/font4.fntdata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6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.fntdata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20" Type="http://schemas.openxmlformats.org/officeDocument/2006/relationships/slide" Target="slides/slide18.xml"/><Relationship Id="rId41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B6F3A8-7FC9-40F7-BBD8-E64A45A0195C}" type="doc">
      <dgm:prSet loTypeId="urn:diagrams.loki3.com/Bracket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86948FB-7672-49DE-93A8-2F6EFEAAA226}">
      <dgm:prSet phldrT="[Text]"/>
      <dgm:spPr/>
      <dgm:t>
        <a:bodyPr/>
        <a:lstStyle/>
        <a:p>
          <a:r>
            <a:rPr lang="en-US" b="1" dirty="0"/>
            <a:t>CAN</a:t>
          </a:r>
        </a:p>
      </dgm:t>
    </dgm:pt>
    <dgm:pt modelId="{AC8F71FB-DDAA-4514-AE46-400E5D441C93}" type="parTrans" cxnId="{80D52F3B-1D2E-4376-8F28-5D36ACB62E7D}">
      <dgm:prSet/>
      <dgm:spPr/>
      <dgm:t>
        <a:bodyPr/>
        <a:lstStyle/>
        <a:p>
          <a:endParaRPr lang="en-US"/>
        </a:p>
      </dgm:t>
    </dgm:pt>
    <dgm:pt modelId="{DAB678A0-59F8-4379-93C9-B2F4D9E5DC48}" type="sibTrans" cxnId="{80D52F3B-1D2E-4376-8F28-5D36ACB62E7D}">
      <dgm:prSet/>
      <dgm:spPr/>
      <dgm:t>
        <a:bodyPr/>
        <a:lstStyle/>
        <a:p>
          <a:endParaRPr lang="en-US"/>
        </a:p>
      </dgm:t>
    </dgm:pt>
    <dgm:pt modelId="{54ACB39C-98A2-4985-AE87-A813CAA789B7}">
      <dgm:prSet phldrT="[Text]" custT="1"/>
      <dgm:spPr/>
      <dgm:t>
        <a:bodyPr/>
        <a:lstStyle/>
        <a:p>
          <a:r>
            <a:rPr lang="en-US" sz="1000" dirty="0"/>
            <a:t>1.</a:t>
          </a:r>
          <a:r>
            <a:rPr lang="en-US" sz="1000" b="0" i="0" dirty="0"/>
            <a:t> data Link layer and  the Physical layer</a:t>
          </a:r>
          <a:endParaRPr lang="en-US" sz="1000" dirty="0"/>
        </a:p>
      </dgm:t>
    </dgm:pt>
    <dgm:pt modelId="{71230DD8-CF7E-485F-8F7D-7E0E697EA407}" type="parTrans" cxnId="{3BABBC16-52E2-4EA5-BF12-89D23849246D}">
      <dgm:prSet/>
      <dgm:spPr/>
      <dgm:t>
        <a:bodyPr/>
        <a:lstStyle/>
        <a:p>
          <a:endParaRPr lang="en-US"/>
        </a:p>
      </dgm:t>
    </dgm:pt>
    <dgm:pt modelId="{9B7DF32C-00DD-4F3C-8A0A-C786187D4967}" type="sibTrans" cxnId="{3BABBC16-52E2-4EA5-BF12-89D23849246D}">
      <dgm:prSet/>
      <dgm:spPr/>
      <dgm:t>
        <a:bodyPr/>
        <a:lstStyle/>
        <a:p>
          <a:endParaRPr lang="en-US"/>
        </a:p>
      </dgm:t>
    </dgm:pt>
    <dgm:pt modelId="{42B5CE99-8AF4-4F29-9F41-4B77384C222B}">
      <dgm:prSet phldrT="[Text]"/>
      <dgm:spPr/>
      <dgm:t>
        <a:bodyPr/>
        <a:lstStyle/>
        <a:p>
          <a:r>
            <a:rPr lang="en-US" b="1" dirty="0"/>
            <a:t>Ethernet</a:t>
          </a:r>
        </a:p>
      </dgm:t>
    </dgm:pt>
    <dgm:pt modelId="{795154EB-99DC-4972-AF36-B2B40E594699}" type="parTrans" cxnId="{20F55B48-3ADC-4E81-98EA-12BD0D61E9A4}">
      <dgm:prSet/>
      <dgm:spPr/>
      <dgm:t>
        <a:bodyPr/>
        <a:lstStyle/>
        <a:p>
          <a:endParaRPr lang="en-US"/>
        </a:p>
      </dgm:t>
    </dgm:pt>
    <dgm:pt modelId="{383D7FE1-9E5C-4E15-8CE5-5D6EFFF39951}" type="sibTrans" cxnId="{20F55B48-3ADC-4E81-98EA-12BD0D61E9A4}">
      <dgm:prSet/>
      <dgm:spPr/>
      <dgm:t>
        <a:bodyPr/>
        <a:lstStyle/>
        <a:p>
          <a:endParaRPr lang="en-US"/>
        </a:p>
      </dgm:t>
    </dgm:pt>
    <dgm:pt modelId="{27BDD2BF-2AC2-45BD-9CDB-615713E3729C}">
      <dgm:prSet phldrT="[Text]" custT="1"/>
      <dgm:spPr/>
      <dgm:t>
        <a:bodyPr/>
        <a:lstStyle/>
        <a:p>
          <a:r>
            <a:rPr lang="en-US" sz="1000" dirty="0"/>
            <a:t>1. APP layer/ TCP IP layer</a:t>
          </a:r>
        </a:p>
      </dgm:t>
    </dgm:pt>
    <dgm:pt modelId="{5D3B9155-7553-4ED3-A582-21B5160AAE6A}" type="parTrans" cxnId="{E54AD20D-F537-47A6-8C88-CAF031A4CF6B}">
      <dgm:prSet/>
      <dgm:spPr/>
      <dgm:t>
        <a:bodyPr/>
        <a:lstStyle/>
        <a:p>
          <a:endParaRPr lang="en-US"/>
        </a:p>
      </dgm:t>
    </dgm:pt>
    <dgm:pt modelId="{01CDC02D-1920-4505-8EE4-D77002FE50CE}" type="sibTrans" cxnId="{E54AD20D-F537-47A6-8C88-CAF031A4CF6B}">
      <dgm:prSet/>
      <dgm:spPr/>
      <dgm:t>
        <a:bodyPr/>
        <a:lstStyle/>
        <a:p>
          <a:endParaRPr lang="en-US"/>
        </a:p>
      </dgm:t>
    </dgm:pt>
    <dgm:pt modelId="{3395C1AF-2885-4D67-BF4E-AFFB277E4A79}">
      <dgm:prSet phldrT="[Text]" custT="1"/>
      <dgm:spPr/>
      <dgm:t>
        <a:bodyPr/>
        <a:lstStyle/>
        <a:p>
          <a:r>
            <a:rPr lang="en-US" sz="1000" dirty="0"/>
            <a:t>2.</a:t>
          </a:r>
          <a:r>
            <a:rPr lang="en-US" sz="1000" b="0" i="0" dirty="0"/>
            <a:t> maximum transmission rate is 1Mbit/s</a:t>
          </a:r>
          <a:endParaRPr lang="en-US" sz="1000" dirty="0"/>
        </a:p>
      </dgm:t>
    </dgm:pt>
    <dgm:pt modelId="{E19BA7E5-1176-4929-B386-887E4D4A9A62}" type="parTrans" cxnId="{AA4D8689-2BA4-495B-8874-5EE03C548BFD}">
      <dgm:prSet/>
      <dgm:spPr/>
      <dgm:t>
        <a:bodyPr/>
        <a:lstStyle/>
        <a:p>
          <a:endParaRPr lang="en-US"/>
        </a:p>
      </dgm:t>
    </dgm:pt>
    <dgm:pt modelId="{ACCA94D5-BD2E-4F11-99DE-A7A6A5C18F83}" type="sibTrans" cxnId="{AA4D8689-2BA4-495B-8874-5EE03C548BFD}">
      <dgm:prSet/>
      <dgm:spPr/>
      <dgm:t>
        <a:bodyPr/>
        <a:lstStyle/>
        <a:p>
          <a:endParaRPr lang="en-US"/>
        </a:p>
      </dgm:t>
    </dgm:pt>
    <dgm:pt modelId="{F835F47D-A219-4361-B6A0-619F5C3667D7}">
      <dgm:prSet phldrT="[Text]" custT="1"/>
      <dgm:spPr/>
      <dgm:t>
        <a:bodyPr/>
        <a:lstStyle/>
        <a:p>
          <a:r>
            <a:rPr lang="en-US" sz="1000" b="0" i="0" dirty="0"/>
            <a:t>3. maximum length is 40 m</a:t>
          </a:r>
          <a:endParaRPr lang="en-US" sz="1000" dirty="0"/>
        </a:p>
      </dgm:t>
    </dgm:pt>
    <dgm:pt modelId="{1148F523-3113-4A4A-A0FA-0EC02FD5791D}" type="parTrans" cxnId="{D283E515-16F3-49BD-86E4-12960B77D9D6}">
      <dgm:prSet/>
      <dgm:spPr/>
      <dgm:t>
        <a:bodyPr/>
        <a:lstStyle/>
        <a:p>
          <a:endParaRPr lang="en-US"/>
        </a:p>
      </dgm:t>
    </dgm:pt>
    <dgm:pt modelId="{91B8AE33-64FC-45EB-85EB-19C11D47D67A}" type="sibTrans" cxnId="{D283E515-16F3-49BD-86E4-12960B77D9D6}">
      <dgm:prSet/>
      <dgm:spPr/>
      <dgm:t>
        <a:bodyPr/>
        <a:lstStyle/>
        <a:p>
          <a:endParaRPr lang="en-US"/>
        </a:p>
      </dgm:t>
    </dgm:pt>
    <dgm:pt modelId="{42E2E820-2ED1-4772-AA55-0750CB3E1773}">
      <dgm:prSet phldrT="[Text]" custT="1"/>
      <dgm:spPr/>
      <dgm:t>
        <a:bodyPr/>
        <a:lstStyle/>
        <a:p>
          <a:r>
            <a:rPr lang="en-US" sz="1000" dirty="0"/>
            <a:t>2.</a:t>
          </a:r>
          <a:r>
            <a:rPr lang="en-US" sz="1000" b="0" i="0" dirty="0"/>
            <a:t> maximum transmission rate is 10000 Mbit/s</a:t>
          </a:r>
          <a:endParaRPr lang="en-US" sz="1000" dirty="0"/>
        </a:p>
      </dgm:t>
    </dgm:pt>
    <dgm:pt modelId="{EF9681C9-9073-4855-A5DA-482D3212657D}" type="parTrans" cxnId="{434DF05E-AD5C-4ED7-AD75-5F0A492C26F0}">
      <dgm:prSet/>
      <dgm:spPr/>
      <dgm:t>
        <a:bodyPr/>
        <a:lstStyle/>
        <a:p>
          <a:endParaRPr lang="en-US"/>
        </a:p>
      </dgm:t>
    </dgm:pt>
    <dgm:pt modelId="{D580F94A-7641-4221-9D2E-95EC77CD346D}" type="sibTrans" cxnId="{434DF05E-AD5C-4ED7-AD75-5F0A492C26F0}">
      <dgm:prSet/>
      <dgm:spPr/>
      <dgm:t>
        <a:bodyPr/>
        <a:lstStyle/>
        <a:p>
          <a:endParaRPr lang="en-US"/>
        </a:p>
      </dgm:t>
    </dgm:pt>
    <dgm:pt modelId="{3E42847B-7915-4059-AB75-8D633F63A7FF}">
      <dgm:prSet phldrT="[Text]" custT="1"/>
      <dgm:spPr/>
      <dgm:t>
        <a:bodyPr/>
        <a:lstStyle/>
        <a:p>
          <a:r>
            <a:rPr lang="en-US" sz="1000" dirty="0"/>
            <a:t>3. </a:t>
          </a:r>
          <a:r>
            <a:rPr lang="en-US" altLang="zh-CN" sz="1000" dirty="0"/>
            <a:t>unlimited</a:t>
          </a:r>
          <a:r>
            <a:rPr lang="en-US" sz="1000" dirty="0"/>
            <a:t> length </a:t>
          </a:r>
        </a:p>
      </dgm:t>
    </dgm:pt>
    <dgm:pt modelId="{A1C9141E-495B-486A-A320-911008CAD299}" type="parTrans" cxnId="{862C3B4D-8C4F-46EA-A9EC-F71144423304}">
      <dgm:prSet/>
      <dgm:spPr/>
      <dgm:t>
        <a:bodyPr/>
        <a:lstStyle/>
        <a:p>
          <a:endParaRPr lang="en-US"/>
        </a:p>
      </dgm:t>
    </dgm:pt>
    <dgm:pt modelId="{E862EE63-B876-4D48-9085-42C67E4AC1DE}" type="sibTrans" cxnId="{862C3B4D-8C4F-46EA-A9EC-F71144423304}">
      <dgm:prSet/>
      <dgm:spPr/>
      <dgm:t>
        <a:bodyPr/>
        <a:lstStyle/>
        <a:p>
          <a:endParaRPr lang="en-US"/>
        </a:p>
      </dgm:t>
    </dgm:pt>
    <dgm:pt modelId="{D22E7643-15B0-4067-B36C-EF6600048CAA}" type="pres">
      <dgm:prSet presAssocID="{58B6F3A8-7FC9-40F7-BBD8-E64A45A0195C}" presName="Name0" presStyleCnt="0">
        <dgm:presLayoutVars>
          <dgm:dir/>
          <dgm:animLvl val="lvl"/>
          <dgm:resizeHandles val="exact"/>
        </dgm:presLayoutVars>
      </dgm:prSet>
      <dgm:spPr/>
    </dgm:pt>
    <dgm:pt modelId="{50F6805A-78D3-4FA9-969C-DC6D243F41EF}" type="pres">
      <dgm:prSet presAssocID="{A86948FB-7672-49DE-93A8-2F6EFEAAA226}" presName="linNode" presStyleCnt="0"/>
      <dgm:spPr/>
    </dgm:pt>
    <dgm:pt modelId="{EA2AE5C9-CB3F-42EC-9333-E8AF164FF078}" type="pres">
      <dgm:prSet presAssocID="{A86948FB-7672-49DE-93A8-2F6EFEAAA226}" presName="parTx" presStyleLbl="revTx" presStyleIdx="0" presStyleCnt="2">
        <dgm:presLayoutVars>
          <dgm:chMax val="1"/>
          <dgm:bulletEnabled val="1"/>
        </dgm:presLayoutVars>
      </dgm:prSet>
      <dgm:spPr/>
    </dgm:pt>
    <dgm:pt modelId="{30323AD8-D747-4F2C-8469-E377A0B548EC}" type="pres">
      <dgm:prSet presAssocID="{A86948FB-7672-49DE-93A8-2F6EFEAAA226}" presName="bracket" presStyleLbl="parChTrans1D1" presStyleIdx="0" presStyleCnt="2"/>
      <dgm:spPr/>
    </dgm:pt>
    <dgm:pt modelId="{84824FE0-0196-4A1C-B621-A0DE3CB8EA63}" type="pres">
      <dgm:prSet presAssocID="{A86948FB-7672-49DE-93A8-2F6EFEAAA226}" presName="spH" presStyleCnt="0"/>
      <dgm:spPr/>
    </dgm:pt>
    <dgm:pt modelId="{5CA9FD5A-16A4-40A2-862F-7FBA89D8B37D}" type="pres">
      <dgm:prSet presAssocID="{A86948FB-7672-49DE-93A8-2F6EFEAAA226}" presName="desTx" presStyleLbl="node1" presStyleIdx="0" presStyleCnt="2">
        <dgm:presLayoutVars>
          <dgm:bulletEnabled val="1"/>
        </dgm:presLayoutVars>
      </dgm:prSet>
      <dgm:spPr/>
    </dgm:pt>
    <dgm:pt modelId="{500C8034-BB2D-4A75-9F3E-81FBA7241033}" type="pres">
      <dgm:prSet presAssocID="{DAB678A0-59F8-4379-93C9-B2F4D9E5DC48}" presName="spV" presStyleCnt="0"/>
      <dgm:spPr/>
    </dgm:pt>
    <dgm:pt modelId="{C40F1706-88BF-43CD-9BC1-49064C144DAD}" type="pres">
      <dgm:prSet presAssocID="{42B5CE99-8AF4-4F29-9F41-4B77384C222B}" presName="linNode" presStyleCnt="0"/>
      <dgm:spPr/>
    </dgm:pt>
    <dgm:pt modelId="{3A2E7847-2AD7-48BC-A229-56AE0321FB17}" type="pres">
      <dgm:prSet presAssocID="{42B5CE99-8AF4-4F29-9F41-4B77384C222B}" presName="parTx" presStyleLbl="revTx" presStyleIdx="1" presStyleCnt="2">
        <dgm:presLayoutVars>
          <dgm:chMax val="1"/>
          <dgm:bulletEnabled val="1"/>
        </dgm:presLayoutVars>
      </dgm:prSet>
      <dgm:spPr/>
    </dgm:pt>
    <dgm:pt modelId="{598E5809-1455-4BB5-8E1F-1FA76A1F1BEA}" type="pres">
      <dgm:prSet presAssocID="{42B5CE99-8AF4-4F29-9F41-4B77384C222B}" presName="bracket" presStyleLbl="parChTrans1D1" presStyleIdx="1" presStyleCnt="2"/>
      <dgm:spPr/>
    </dgm:pt>
    <dgm:pt modelId="{AF1EB584-BAC9-4A9F-8636-14C739A1D1EA}" type="pres">
      <dgm:prSet presAssocID="{42B5CE99-8AF4-4F29-9F41-4B77384C222B}" presName="spH" presStyleCnt="0"/>
      <dgm:spPr/>
    </dgm:pt>
    <dgm:pt modelId="{373DB18F-0AE4-4A96-80AC-6541E7B872CA}" type="pres">
      <dgm:prSet presAssocID="{42B5CE99-8AF4-4F29-9F41-4B77384C222B}" presName="desTx" presStyleLbl="node1" presStyleIdx="1" presStyleCnt="2">
        <dgm:presLayoutVars>
          <dgm:bulletEnabled val="1"/>
        </dgm:presLayoutVars>
      </dgm:prSet>
      <dgm:spPr/>
    </dgm:pt>
  </dgm:ptLst>
  <dgm:cxnLst>
    <dgm:cxn modelId="{E54AD20D-F537-47A6-8C88-CAF031A4CF6B}" srcId="{42B5CE99-8AF4-4F29-9F41-4B77384C222B}" destId="{27BDD2BF-2AC2-45BD-9CDB-615713E3729C}" srcOrd="0" destOrd="0" parTransId="{5D3B9155-7553-4ED3-A582-21B5160AAE6A}" sibTransId="{01CDC02D-1920-4505-8EE4-D77002FE50CE}"/>
    <dgm:cxn modelId="{D283E515-16F3-49BD-86E4-12960B77D9D6}" srcId="{A86948FB-7672-49DE-93A8-2F6EFEAAA226}" destId="{F835F47D-A219-4361-B6A0-619F5C3667D7}" srcOrd="2" destOrd="0" parTransId="{1148F523-3113-4A4A-A0FA-0EC02FD5791D}" sibTransId="{91B8AE33-64FC-45EB-85EB-19C11D47D67A}"/>
    <dgm:cxn modelId="{3BABBC16-52E2-4EA5-BF12-89D23849246D}" srcId="{A86948FB-7672-49DE-93A8-2F6EFEAAA226}" destId="{54ACB39C-98A2-4985-AE87-A813CAA789B7}" srcOrd="0" destOrd="0" parTransId="{71230DD8-CF7E-485F-8F7D-7E0E697EA407}" sibTransId="{9B7DF32C-00DD-4F3C-8A0A-C786187D4967}"/>
    <dgm:cxn modelId="{0F7BF32E-B5CA-43C7-8E34-869409E8A22D}" type="presOf" srcId="{42B5CE99-8AF4-4F29-9F41-4B77384C222B}" destId="{3A2E7847-2AD7-48BC-A229-56AE0321FB17}" srcOrd="0" destOrd="0" presId="urn:diagrams.loki3.com/BracketList"/>
    <dgm:cxn modelId="{5C6E472F-9522-4912-A906-1D79131A33DE}" type="presOf" srcId="{3395C1AF-2885-4D67-BF4E-AFFB277E4A79}" destId="{5CA9FD5A-16A4-40A2-862F-7FBA89D8B37D}" srcOrd="0" destOrd="1" presId="urn:diagrams.loki3.com/BracketList"/>
    <dgm:cxn modelId="{80D52F3B-1D2E-4376-8F28-5D36ACB62E7D}" srcId="{58B6F3A8-7FC9-40F7-BBD8-E64A45A0195C}" destId="{A86948FB-7672-49DE-93A8-2F6EFEAAA226}" srcOrd="0" destOrd="0" parTransId="{AC8F71FB-DDAA-4514-AE46-400E5D441C93}" sibTransId="{DAB678A0-59F8-4379-93C9-B2F4D9E5DC48}"/>
    <dgm:cxn modelId="{434DF05E-AD5C-4ED7-AD75-5F0A492C26F0}" srcId="{42B5CE99-8AF4-4F29-9F41-4B77384C222B}" destId="{42E2E820-2ED1-4772-AA55-0750CB3E1773}" srcOrd="1" destOrd="0" parTransId="{EF9681C9-9073-4855-A5DA-482D3212657D}" sibTransId="{D580F94A-7641-4221-9D2E-95EC77CD346D}"/>
    <dgm:cxn modelId="{20F55B48-3ADC-4E81-98EA-12BD0D61E9A4}" srcId="{58B6F3A8-7FC9-40F7-BBD8-E64A45A0195C}" destId="{42B5CE99-8AF4-4F29-9F41-4B77384C222B}" srcOrd="1" destOrd="0" parTransId="{795154EB-99DC-4972-AF36-B2B40E594699}" sibTransId="{383D7FE1-9E5C-4E15-8CE5-5D6EFFF39951}"/>
    <dgm:cxn modelId="{862C3B4D-8C4F-46EA-A9EC-F71144423304}" srcId="{42B5CE99-8AF4-4F29-9F41-4B77384C222B}" destId="{3E42847B-7915-4059-AB75-8D633F63A7FF}" srcOrd="2" destOrd="0" parTransId="{A1C9141E-495B-486A-A320-911008CAD299}" sibTransId="{E862EE63-B876-4D48-9085-42C67E4AC1DE}"/>
    <dgm:cxn modelId="{A3949E4E-A2B3-41CE-BC9A-8C8F49B7FAE0}" type="presOf" srcId="{F835F47D-A219-4361-B6A0-619F5C3667D7}" destId="{5CA9FD5A-16A4-40A2-862F-7FBA89D8B37D}" srcOrd="0" destOrd="2" presId="urn:diagrams.loki3.com/BracketList"/>
    <dgm:cxn modelId="{5A7E8F50-956F-43D1-91F8-291709E078EE}" type="presOf" srcId="{42E2E820-2ED1-4772-AA55-0750CB3E1773}" destId="{373DB18F-0AE4-4A96-80AC-6541E7B872CA}" srcOrd="0" destOrd="1" presId="urn:diagrams.loki3.com/BracketList"/>
    <dgm:cxn modelId="{AA4D8689-2BA4-495B-8874-5EE03C548BFD}" srcId="{A86948FB-7672-49DE-93A8-2F6EFEAAA226}" destId="{3395C1AF-2885-4D67-BF4E-AFFB277E4A79}" srcOrd="1" destOrd="0" parTransId="{E19BA7E5-1176-4929-B386-887E4D4A9A62}" sibTransId="{ACCA94D5-BD2E-4F11-99DE-A7A6A5C18F83}"/>
    <dgm:cxn modelId="{9631A2A0-CE8F-44E2-930C-CB8F74515064}" type="presOf" srcId="{54ACB39C-98A2-4985-AE87-A813CAA789B7}" destId="{5CA9FD5A-16A4-40A2-862F-7FBA89D8B37D}" srcOrd="0" destOrd="0" presId="urn:diagrams.loki3.com/BracketList"/>
    <dgm:cxn modelId="{DD0AC5A8-2F6E-49B4-9B02-88EED2C7EE9E}" type="presOf" srcId="{27BDD2BF-2AC2-45BD-9CDB-615713E3729C}" destId="{373DB18F-0AE4-4A96-80AC-6541E7B872CA}" srcOrd="0" destOrd="0" presId="urn:diagrams.loki3.com/BracketList"/>
    <dgm:cxn modelId="{407DD6BF-3034-4211-8A93-04D3680CF411}" type="presOf" srcId="{A86948FB-7672-49DE-93A8-2F6EFEAAA226}" destId="{EA2AE5C9-CB3F-42EC-9333-E8AF164FF078}" srcOrd="0" destOrd="0" presId="urn:diagrams.loki3.com/BracketList"/>
    <dgm:cxn modelId="{58BB3AE4-D866-4A10-A7FE-4F3A7C2EF7E3}" type="presOf" srcId="{3E42847B-7915-4059-AB75-8D633F63A7FF}" destId="{373DB18F-0AE4-4A96-80AC-6541E7B872CA}" srcOrd="0" destOrd="2" presId="urn:diagrams.loki3.com/BracketList"/>
    <dgm:cxn modelId="{471EA0EA-4AFD-4309-9164-7CC98BB0D648}" type="presOf" srcId="{58B6F3A8-7FC9-40F7-BBD8-E64A45A0195C}" destId="{D22E7643-15B0-4067-B36C-EF6600048CAA}" srcOrd="0" destOrd="0" presId="urn:diagrams.loki3.com/BracketList"/>
    <dgm:cxn modelId="{60C9938A-9824-42C1-B61D-744A07E624BA}" type="presParOf" srcId="{D22E7643-15B0-4067-B36C-EF6600048CAA}" destId="{50F6805A-78D3-4FA9-969C-DC6D243F41EF}" srcOrd="0" destOrd="0" presId="urn:diagrams.loki3.com/BracketList"/>
    <dgm:cxn modelId="{0335319E-8FC0-483A-A44D-9B83395B7AAE}" type="presParOf" srcId="{50F6805A-78D3-4FA9-969C-DC6D243F41EF}" destId="{EA2AE5C9-CB3F-42EC-9333-E8AF164FF078}" srcOrd="0" destOrd="0" presId="urn:diagrams.loki3.com/BracketList"/>
    <dgm:cxn modelId="{CCF751B9-5111-4A9A-B057-A131ED2E1FB6}" type="presParOf" srcId="{50F6805A-78D3-4FA9-969C-DC6D243F41EF}" destId="{30323AD8-D747-4F2C-8469-E377A0B548EC}" srcOrd="1" destOrd="0" presId="urn:diagrams.loki3.com/BracketList"/>
    <dgm:cxn modelId="{11A2F341-21D4-449D-A36E-E58DFC35A2AE}" type="presParOf" srcId="{50F6805A-78D3-4FA9-969C-DC6D243F41EF}" destId="{84824FE0-0196-4A1C-B621-A0DE3CB8EA63}" srcOrd="2" destOrd="0" presId="urn:diagrams.loki3.com/BracketList"/>
    <dgm:cxn modelId="{BEE53F3B-4367-4881-82F0-06454F439946}" type="presParOf" srcId="{50F6805A-78D3-4FA9-969C-DC6D243F41EF}" destId="{5CA9FD5A-16A4-40A2-862F-7FBA89D8B37D}" srcOrd="3" destOrd="0" presId="urn:diagrams.loki3.com/BracketList"/>
    <dgm:cxn modelId="{4EC7EDE6-9BDF-409D-A16E-991F587AEA64}" type="presParOf" srcId="{D22E7643-15B0-4067-B36C-EF6600048CAA}" destId="{500C8034-BB2D-4A75-9F3E-81FBA7241033}" srcOrd="1" destOrd="0" presId="urn:diagrams.loki3.com/BracketList"/>
    <dgm:cxn modelId="{E2B6D70E-CB9A-41F7-AAC8-8EEB13E5DF39}" type="presParOf" srcId="{D22E7643-15B0-4067-B36C-EF6600048CAA}" destId="{C40F1706-88BF-43CD-9BC1-49064C144DAD}" srcOrd="2" destOrd="0" presId="urn:diagrams.loki3.com/BracketList"/>
    <dgm:cxn modelId="{36906855-56DF-4C90-9A9C-DE6D3B6738C8}" type="presParOf" srcId="{C40F1706-88BF-43CD-9BC1-49064C144DAD}" destId="{3A2E7847-2AD7-48BC-A229-56AE0321FB17}" srcOrd="0" destOrd="0" presId="urn:diagrams.loki3.com/BracketList"/>
    <dgm:cxn modelId="{89BC2E46-0FB6-4620-BCEA-207BB6266DBF}" type="presParOf" srcId="{C40F1706-88BF-43CD-9BC1-49064C144DAD}" destId="{598E5809-1455-4BB5-8E1F-1FA76A1F1BEA}" srcOrd="1" destOrd="0" presId="urn:diagrams.loki3.com/BracketList"/>
    <dgm:cxn modelId="{9268B5CC-B967-4A53-8F85-4230FB33EE5C}" type="presParOf" srcId="{C40F1706-88BF-43CD-9BC1-49064C144DAD}" destId="{AF1EB584-BAC9-4A9F-8636-14C739A1D1EA}" srcOrd="2" destOrd="0" presId="urn:diagrams.loki3.com/BracketList"/>
    <dgm:cxn modelId="{53F9FE63-950B-4236-983F-9F2B265E6D92}" type="presParOf" srcId="{C40F1706-88BF-43CD-9BC1-49064C144DAD}" destId="{373DB18F-0AE4-4A96-80AC-6541E7B872CA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2AE5C9-CB3F-42EC-9333-E8AF164FF078}">
      <dsp:nvSpPr>
        <dsp:cNvPr id="0" name=""/>
        <dsp:cNvSpPr/>
      </dsp:nvSpPr>
      <dsp:spPr>
        <a:xfrm>
          <a:off x="0" y="1494814"/>
          <a:ext cx="1524529" cy="435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55880" rIns="156464" bIns="55880" numCol="1" spcCol="1270" anchor="ctr" anchorCtr="0">
          <a:noAutofit/>
        </a:bodyPr>
        <a:lstStyle/>
        <a:p>
          <a:pPr marL="0" lvl="0" indent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CAN</a:t>
          </a:r>
        </a:p>
      </dsp:txBody>
      <dsp:txXfrm>
        <a:off x="0" y="1494814"/>
        <a:ext cx="1524529" cy="435600"/>
      </dsp:txXfrm>
    </dsp:sp>
    <dsp:sp modelId="{30323AD8-D747-4F2C-8469-E377A0B548EC}">
      <dsp:nvSpPr>
        <dsp:cNvPr id="0" name=""/>
        <dsp:cNvSpPr/>
      </dsp:nvSpPr>
      <dsp:spPr>
        <a:xfrm>
          <a:off x="1524529" y="1440364"/>
          <a:ext cx="304905" cy="5445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A9FD5A-16A4-40A2-862F-7FBA89D8B37D}">
      <dsp:nvSpPr>
        <dsp:cNvPr id="0" name=""/>
        <dsp:cNvSpPr/>
      </dsp:nvSpPr>
      <dsp:spPr>
        <a:xfrm>
          <a:off x="1951397" y="1440364"/>
          <a:ext cx="4146719" cy="5445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1.</a:t>
          </a:r>
          <a:r>
            <a:rPr lang="en-US" sz="1000" b="0" i="0" kern="1200" dirty="0"/>
            <a:t> data Link layer and  the Physical layer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2.</a:t>
          </a:r>
          <a:r>
            <a:rPr lang="en-US" sz="1000" b="0" i="0" kern="1200" dirty="0"/>
            <a:t> maximum transmission rate is 1Mbit/s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i="0" kern="1200" dirty="0"/>
            <a:t>3. maximum length is 40 m</a:t>
          </a:r>
          <a:endParaRPr lang="en-US" sz="1000" kern="1200" dirty="0"/>
        </a:p>
      </dsp:txBody>
      <dsp:txXfrm>
        <a:off x="1951397" y="1440364"/>
        <a:ext cx="4146719" cy="544500"/>
      </dsp:txXfrm>
    </dsp:sp>
    <dsp:sp modelId="{3A2E7847-2AD7-48BC-A229-56AE0321FB17}">
      <dsp:nvSpPr>
        <dsp:cNvPr id="0" name=""/>
        <dsp:cNvSpPr/>
      </dsp:nvSpPr>
      <dsp:spPr>
        <a:xfrm>
          <a:off x="0" y="2118514"/>
          <a:ext cx="1523040" cy="435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55880" rIns="156464" bIns="55880" numCol="1" spcCol="1270" anchor="ctr" anchorCtr="0">
          <a:noAutofit/>
        </a:bodyPr>
        <a:lstStyle/>
        <a:p>
          <a:pPr marL="0" lvl="0" indent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Ethernet</a:t>
          </a:r>
        </a:p>
      </dsp:txBody>
      <dsp:txXfrm>
        <a:off x="0" y="2118514"/>
        <a:ext cx="1523040" cy="435600"/>
      </dsp:txXfrm>
    </dsp:sp>
    <dsp:sp modelId="{598E5809-1455-4BB5-8E1F-1FA76A1F1BEA}">
      <dsp:nvSpPr>
        <dsp:cNvPr id="0" name=""/>
        <dsp:cNvSpPr/>
      </dsp:nvSpPr>
      <dsp:spPr>
        <a:xfrm>
          <a:off x="1523040" y="2064064"/>
          <a:ext cx="304608" cy="5445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3DB18F-0AE4-4A96-80AC-6541E7B872CA}">
      <dsp:nvSpPr>
        <dsp:cNvPr id="0" name=""/>
        <dsp:cNvSpPr/>
      </dsp:nvSpPr>
      <dsp:spPr>
        <a:xfrm>
          <a:off x="1949491" y="2064064"/>
          <a:ext cx="4142670" cy="544500"/>
        </a:xfrm>
        <a:prstGeom prst="rect">
          <a:avLst/>
        </a:prstGeom>
        <a:solidFill>
          <a:schemeClr val="accent4">
            <a:hueOff val="5707127"/>
            <a:satOff val="-23503"/>
            <a:lumOff val="-2823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1. APP layer/ TCP IP lay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2.</a:t>
          </a:r>
          <a:r>
            <a:rPr lang="en-US" sz="1000" b="0" i="0" kern="1200" dirty="0"/>
            <a:t> maximum transmission rate is 10000 Mbit/s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3. </a:t>
          </a:r>
          <a:r>
            <a:rPr lang="en-US" altLang="zh-CN" sz="1000" kern="1200" dirty="0"/>
            <a:t>unlimited</a:t>
          </a:r>
          <a:r>
            <a:rPr lang="en-US" sz="1000" kern="1200" dirty="0"/>
            <a:t> length </a:t>
          </a:r>
        </a:p>
      </dsp:txBody>
      <dsp:txXfrm>
        <a:off x="1949491" y="2064064"/>
        <a:ext cx="4142670" cy="544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EC26CC-4617-E445-9EFD-D49D2B6AD6C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8B21F2-27C0-884C-819E-658964289E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75A68-DBD8-F545-95B5-9D8AB0F5C978}" type="datetimeFigureOut">
              <a:rPr lang="sv-SE" smtClean="0"/>
              <a:t>2022-07-02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D1E00E-2E2F-B84E-9F0E-6BDA0DD03A2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AEB69E-E245-C146-A4C9-DF8D9F877F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BFCC3-21E5-1C44-8EF0-15563315C36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0625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8797AD-3876-EF40-84D5-36A6A690AD8C}" type="datetimeFigureOut">
              <a:rPr lang="sv-SE" smtClean="0"/>
              <a:t>2022-07-02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18F6A8-7047-8E44-8143-20FA4495195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9661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75CE769-8DF4-401B-B582-7F7A931D5B5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7175" cy="5144400"/>
          </a:xfrm>
          <a:noFill/>
        </p:spPr>
        <p:txBody>
          <a:bodyPr lIns="2520000" tIns="0" rIns="0" anchor="ctr" anchorCtr="1">
            <a:normAutofit/>
          </a:bodyPr>
          <a:lstStyle>
            <a:lvl1pPr>
              <a:defRPr sz="10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sv-SE" dirty="0"/>
              <a:t>&lt;&lt; </a:t>
            </a:r>
            <a:r>
              <a:rPr lang="ja-JP" altLang="sv-SE" dirty="0"/>
              <a:t>点击</a:t>
            </a:r>
            <a:r>
              <a:rPr lang="ja-JP" altLang="en-US" dirty="0"/>
              <a:t>添加浅色背景图片或留白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8AA38-B029-0F43-B47A-A9C35BAC09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8369" y="444068"/>
            <a:ext cx="2070435" cy="331515"/>
          </a:xfrm>
        </p:spPr>
        <p:txBody>
          <a:bodyPr>
            <a:noAutofit/>
          </a:bodyPr>
          <a:lstStyle>
            <a:lvl1pPr algn="ctr">
              <a:spcAft>
                <a:spcPts val="0"/>
              </a:spcAft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pPr lvl="0"/>
            <a:r>
              <a:rPr lang="zh-CN" altLang="en-US" dirty="0"/>
              <a:t>请注意：</a:t>
            </a:r>
            <a:r>
              <a:rPr lang="en-US" altLang="zh-CN" dirty="0"/>
              <a:t>Logo</a:t>
            </a:r>
            <a:r>
              <a:rPr lang="zh-CN" altLang="en-US" dirty="0"/>
              <a:t>必须在每页上都可见；每个演示文档只应有一张标题页面。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D345CC0-82DA-7048-839A-198E806AE6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1348408"/>
            <a:ext cx="8389937" cy="504056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algn="ctr">
              <a:lnSpc>
                <a:spcPts val="3800"/>
              </a:lnSpc>
              <a:defRPr sz="3200" b="1" spc="50" baseline="0">
                <a:latin typeface="Volvo Novum" panose="02000606020000020004" pitchFamily="2" charset="0"/>
              </a:defRPr>
            </a:lvl1pPr>
            <a:lvl2pPr algn="ctr">
              <a:defRPr sz="3300">
                <a:latin typeface="Volvo Novum" panose="02000606020000020004" pitchFamily="2" charset="0"/>
              </a:defRPr>
            </a:lvl2pPr>
          </a:lstStyle>
          <a:p>
            <a:pPr lvl="0"/>
            <a:r>
              <a:rPr lang="zh-CN" altLang="en-US" noProof="0" dirty="0"/>
              <a:t>点击添加演示文档标题</a:t>
            </a:r>
            <a:endParaRPr lang="en-GB" noProof="0" dirty="0"/>
          </a:p>
        </p:txBody>
      </p:sp>
      <p:pic>
        <p:nvPicPr>
          <p:cNvPr id="6" name="Bildobjekt 7">
            <a:extLst>
              <a:ext uri="{FF2B5EF4-FFF2-40B4-BE49-F238E27FC236}">
                <a16:creationId xmlns:a16="http://schemas.microsoft.com/office/drawing/2014/main" id="{6A583A38-3E42-4EBA-9FB4-004710E7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EFDAF9D5-A8A9-BC40-88BB-0BE0756BE48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896195" y="4630128"/>
            <a:ext cx="1368152" cy="174664"/>
          </a:xfrm>
        </p:spPr>
        <p:txBody>
          <a:bodyPr/>
          <a:lstStyle>
            <a:lvl1pPr algn="ctr">
              <a:defRPr sz="8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EA88EFF-652B-0F41-9755-38FFA975FCC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51329" y="4407880"/>
            <a:ext cx="4644516" cy="174664"/>
          </a:xfr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998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字+相关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018C5C5-4FDF-9B48-B097-A58AA76F86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363" y="1347143"/>
            <a:ext cx="5508625" cy="34582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7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3"/>
            <a:r>
              <a:rPr lang="ja-JP" altLang="en-GB" noProof="0"/>
              <a:t>第三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4"/>
            <a:r>
              <a:rPr lang="ja-JP" altLang="en-GB" noProof="0"/>
              <a:t>第四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5"/>
            <a:r>
              <a:rPr lang="ja-JP" altLang="en-GB" noProof="0"/>
              <a:t>第五</a:t>
            </a:r>
            <a:r>
              <a:rPr lang="ja-JP" altLang="en-US" noProof="0"/>
              <a:t>项要点</a:t>
            </a:r>
            <a:endParaRPr lang="en-GB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ABC783F-0ABA-4249-B6A4-0A19CBB559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1400" y="1347143"/>
            <a:ext cx="2628900" cy="3458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216000" tIns="144000" rIns="216000" bIns="144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700"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相关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3"/>
            <a:r>
              <a:rPr lang="ja-JP" altLang="en-GB" noProof="0"/>
              <a:t>第三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4"/>
            <a:r>
              <a:rPr lang="ja-JP" altLang="en-GB" noProof="0"/>
              <a:t>第四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5"/>
            <a:r>
              <a:rPr lang="ja-JP" altLang="en-GB" noProof="0"/>
              <a:t>第五</a:t>
            </a:r>
            <a:r>
              <a:rPr lang="ja-JP" altLang="en-US" noProof="0"/>
              <a:t>项要点</a:t>
            </a:r>
            <a:endParaRPr lang="en-GB" noProof="0" dirty="0"/>
          </a:p>
        </p:txBody>
      </p:sp>
      <p:pic>
        <p:nvPicPr>
          <p:cNvPr id="12" name="Bildobjekt 7">
            <a:extLst>
              <a:ext uri="{FF2B5EF4-FFF2-40B4-BE49-F238E27FC236}">
                <a16:creationId xmlns:a16="http://schemas.microsoft.com/office/drawing/2014/main" id="{50D511DD-AB1B-417F-96D3-A1D769F938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3" name="Title Placeholder 10">
            <a:extLst>
              <a:ext uri="{FF2B5EF4-FFF2-40B4-BE49-F238E27FC236}">
                <a16:creationId xmlns:a16="http://schemas.microsoft.com/office/drawing/2014/main" id="{FDFCF8A1-B54F-42AB-8033-B232F746C4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2000" b="1" noProof="0" dirty="0"/>
            </a:lvl1pPr>
          </a:lstStyle>
          <a:p>
            <a:pPr lvl="0"/>
            <a:r>
              <a:rPr lang="zh-CN" altLang="en-US" dirty="0"/>
              <a:t>文字</a:t>
            </a:r>
            <a:r>
              <a:rPr lang="en-US" altLang="zh-CN" dirty="0"/>
              <a:t>+</a:t>
            </a:r>
            <a:r>
              <a:rPr lang="zh-CN" altLang="en-US" dirty="0"/>
              <a:t>相关文字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4635DF05-367D-4267-B9AF-640D824AD2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8C5714A3-F3EB-4BF0-A7C0-84D8BCDF38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904AD82D-9F8A-4344-A59C-C2EAD2640F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469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栏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A6E88E-767D-4812-B85B-480A4811B2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364" y="4703168"/>
            <a:ext cx="2628900" cy="10219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5D2BF3-0AE8-487B-8A4E-5BD96565FA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40844" y="4703169"/>
            <a:ext cx="2628900" cy="10219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78DCA6D-659D-4C9C-9B32-5E04A2649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1401" y="4703168"/>
            <a:ext cx="2628900" cy="10219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noProof="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477B619C-E078-1242-9B16-E25B558DA55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0363" y="1970669"/>
            <a:ext cx="2628000" cy="262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47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21" name="Content Placeholder 23">
            <a:extLst>
              <a:ext uri="{FF2B5EF4-FFF2-40B4-BE49-F238E27FC236}">
                <a16:creationId xmlns:a16="http://schemas.microsoft.com/office/drawing/2014/main" id="{390E5A46-5C96-F14C-B23C-323DD25FC50F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41674" y="1970669"/>
            <a:ext cx="2628000" cy="262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47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C8D83589-9E38-E546-B361-55C64B61CBD4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121400" y="1970669"/>
            <a:ext cx="2628000" cy="262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47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6592BE4-4DC2-3442-BB1E-ECB0E8B6E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0362" y="1357893"/>
            <a:ext cx="2628901" cy="38677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文字</a:t>
            </a:r>
            <a:r>
              <a:rPr lang="zh-CN" altLang="en-US" noProof="0" dirty="0"/>
              <a:t>（</a:t>
            </a:r>
            <a:r>
              <a:rPr lang="ja-JP" altLang="en-US" noProof="0"/>
              <a:t>最多两行</a:t>
            </a:r>
            <a:r>
              <a:rPr lang="zh-CN" altLang="en-US" noProof="0" dirty="0"/>
              <a:t>）</a:t>
            </a:r>
            <a:endParaRPr lang="en-GB" noProof="0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01FC27F-F931-3A41-9C9D-B2E474B598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241676" y="1347788"/>
            <a:ext cx="2628658" cy="3968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文字</a:t>
            </a:r>
            <a:r>
              <a:rPr lang="zh-CN" altLang="en-US" noProof="0" dirty="0"/>
              <a:t>（</a:t>
            </a:r>
            <a:r>
              <a:rPr lang="ja-JP" altLang="en-US" noProof="0"/>
              <a:t>最多两行</a:t>
            </a:r>
            <a:r>
              <a:rPr lang="zh-CN" altLang="en-US" noProof="0" dirty="0"/>
              <a:t>）</a:t>
            </a:r>
            <a:endParaRPr lang="en-GB" noProof="0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36C3EBF-74D6-A047-A06B-CE280A2B6BA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1399" y="1357894"/>
            <a:ext cx="2626383" cy="38677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 marL="0" indent="0">
              <a:buNone/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 marL="417600" indent="0">
              <a:buNone/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文字</a:t>
            </a:r>
            <a:r>
              <a:rPr lang="zh-CN" altLang="en-US" noProof="0"/>
              <a:t>（</a:t>
            </a:r>
            <a:r>
              <a:rPr lang="ja-JP" altLang="en-US" noProof="0"/>
              <a:t>最多两行</a:t>
            </a:r>
            <a:r>
              <a:rPr lang="zh-CN" altLang="en-US" noProof="0"/>
              <a:t>）</a:t>
            </a:r>
            <a:endParaRPr lang="en-GB" noProof="0" dirty="0"/>
          </a:p>
        </p:txBody>
      </p:sp>
      <p:pic>
        <p:nvPicPr>
          <p:cNvPr id="19" name="Bildobjekt 7">
            <a:extLst>
              <a:ext uri="{FF2B5EF4-FFF2-40B4-BE49-F238E27FC236}">
                <a16:creationId xmlns:a16="http://schemas.microsoft.com/office/drawing/2014/main" id="{7461F592-04C2-4A8D-9539-B5D01C7271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20" name="Title Placeholder 10">
            <a:extLst>
              <a:ext uri="{FF2B5EF4-FFF2-40B4-BE49-F238E27FC236}">
                <a16:creationId xmlns:a16="http://schemas.microsoft.com/office/drawing/2014/main" id="{21B1FA15-7476-4DDC-9504-60666496A9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 dirty="0"/>
              <a:t>三栏式页面</a:t>
            </a:r>
            <a:r>
              <a:rPr lang="en-US" altLang="zh-CN" dirty="0"/>
              <a:t>1</a:t>
            </a:r>
            <a:r>
              <a:rPr lang="zh-CN" altLang="en-US" dirty="0"/>
              <a:t>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DE0D6CF5-8DA9-4465-A83D-57DC6F210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29" name="Footer Placeholder 8">
            <a:extLst>
              <a:ext uri="{FF2B5EF4-FFF2-40B4-BE49-F238E27FC236}">
                <a16:creationId xmlns:a16="http://schemas.microsoft.com/office/drawing/2014/main" id="{5A379993-7C8B-418B-9ECC-96D6E148A7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32" name="Slide Number Placeholder 9">
            <a:extLst>
              <a:ext uri="{FF2B5EF4-FFF2-40B4-BE49-F238E27FC236}">
                <a16:creationId xmlns:a16="http://schemas.microsoft.com/office/drawing/2014/main" id="{493B0D3B-EE59-47A3-8E71-D8D8F8EACB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143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栏式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477B619C-E078-1242-9B16-E25B558DA55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263" y="1347788"/>
            <a:ext cx="2628000" cy="14000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9C1D7EB-A147-4C51-9ABB-70C9487C320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150" y="2752726"/>
            <a:ext cx="2630114" cy="215900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noProof="0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B5927-543A-4809-BA0C-C412FC46B5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41674" y="2747841"/>
            <a:ext cx="2628000" cy="215900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1052C9E-5D8B-4F9B-8BD9-0689534AA3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1400" y="2752725"/>
            <a:ext cx="2630115" cy="215900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ja-JP" altLang="en-GB" noProof="0"/>
              <a:t>来源</a:t>
            </a:r>
            <a:r>
              <a:rPr lang="zh-CN" altLang="en-US" noProof="0"/>
              <a:t>：</a:t>
            </a:r>
            <a:r>
              <a:rPr lang="ja-JP" altLang="en-US" noProof="0"/>
              <a:t>添加名称</a:t>
            </a:r>
            <a:endParaRPr lang="en-GB" noProof="0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73EF000-82BC-3F4F-843C-F37CD6347E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1263" y="3184525"/>
            <a:ext cx="2628000" cy="260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子标题</a:t>
            </a:r>
            <a:endParaRPr lang="en-GB" noProof="0" dirty="0"/>
          </a:p>
        </p:txBody>
      </p:sp>
      <p:sp>
        <p:nvSpPr>
          <p:cNvPr id="32" name="Content Placeholder 23">
            <a:extLst>
              <a:ext uri="{FF2B5EF4-FFF2-40B4-BE49-F238E27FC236}">
                <a16:creationId xmlns:a16="http://schemas.microsoft.com/office/drawing/2014/main" id="{671D206D-ABCD-9C43-A0D7-7A72CDC98451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3241675" y="1347788"/>
            <a:ext cx="2627313" cy="14000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33" name="Content Placeholder 23">
            <a:extLst>
              <a:ext uri="{FF2B5EF4-FFF2-40B4-BE49-F238E27FC236}">
                <a16:creationId xmlns:a16="http://schemas.microsoft.com/office/drawing/2014/main" id="{157CDFCB-103B-9F43-9485-DD9C523E1B2C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119025" y="1347788"/>
            <a:ext cx="2628000" cy="14000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indent="0" algn="ctr">
              <a:lnSpc>
                <a:spcPct val="300000"/>
              </a:lnSpc>
              <a:buNone/>
              <a:defRPr sz="900" i="1"/>
            </a:lvl1pPr>
            <a:lvl2pPr marL="343003" indent="0" algn="ctr">
              <a:buNone/>
              <a:defRPr sz="900"/>
            </a:lvl2pPr>
            <a:lvl3pPr marL="686006" indent="0" algn="ctr">
              <a:buNone/>
              <a:defRPr sz="900"/>
            </a:lvl3pPr>
            <a:lvl4pPr marL="1029009" indent="0" algn="ctr">
              <a:buNone/>
              <a:defRPr sz="900"/>
            </a:lvl4pPr>
            <a:lvl5pPr marL="1372011" indent="0" algn="ctr">
              <a:buNone/>
              <a:defRPr sz="900"/>
            </a:lvl5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F7E22BD-4C58-1A4E-8BCE-04600A81298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1263" y="3581399"/>
            <a:ext cx="2628000" cy="1223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5D2EC6C-5339-C142-AE24-B8FAF44F9D2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41676" y="3581399"/>
            <a:ext cx="2628000" cy="12239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C74301D4-2C08-3842-873E-C53A4E35E1F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19025" y="3581398"/>
            <a:ext cx="2628000" cy="122396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8704E15C-F5B7-A54E-9E67-F332B838477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52873" y="3184525"/>
            <a:ext cx="2627313" cy="260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子标题</a:t>
            </a:r>
            <a:endParaRPr lang="en-GB" noProof="0" dirty="0"/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35E4AD9A-2483-4941-8109-5902D5B8BCA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19099" y="3184525"/>
            <a:ext cx="2628000" cy="260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子标题</a:t>
            </a:r>
            <a:endParaRPr lang="en-GB" noProof="0" dirty="0"/>
          </a:p>
        </p:txBody>
      </p:sp>
      <p:pic>
        <p:nvPicPr>
          <p:cNvPr id="21" name="Bildobjekt 7">
            <a:extLst>
              <a:ext uri="{FF2B5EF4-FFF2-40B4-BE49-F238E27FC236}">
                <a16:creationId xmlns:a16="http://schemas.microsoft.com/office/drawing/2014/main" id="{17716B58-F4DB-4CE9-A13B-E6ABD9218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23" name="Title Placeholder 10">
            <a:extLst>
              <a:ext uri="{FF2B5EF4-FFF2-40B4-BE49-F238E27FC236}">
                <a16:creationId xmlns:a16="http://schemas.microsoft.com/office/drawing/2014/main" id="{7521BB99-BB6E-4918-A7E7-F1E0FF3F6C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 dirty="0"/>
              <a:t>三栏式页面</a:t>
            </a:r>
            <a:r>
              <a:rPr lang="en-US" altLang="zh-CN" dirty="0"/>
              <a:t>2</a:t>
            </a:r>
            <a:r>
              <a:rPr lang="zh-CN" altLang="en-US" dirty="0"/>
              <a:t>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27" name="Date Placeholder 2">
            <a:extLst>
              <a:ext uri="{FF2B5EF4-FFF2-40B4-BE49-F238E27FC236}">
                <a16:creationId xmlns:a16="http://schemas.microsoft.com/office/drawing/2014/main" id="{46E67FC0-4703-44E7-8E23-51C04358C8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28" name="Footer Placeholder 8">
            <a:extLst>
              <a:ext uri="{FF2B5EF4-FFF2-40B4-BE49-F238E27FC236}">
                <a16:creationId xmlns:a16="http://schemas.microsoft.com/office/drawing/2014/main" id="{DEFCD0FB-601B-4B61-BAF2-BEF460C412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30" name="Slide Number Placeholder 9">
            <a:extLst>
              <a:ext uri="{FF2B5EF4-FFF2-40B4-BE49-F238E27FC236}">
                <a16:creationId xmlns:a16="http://schemas.microsoft.com/office/drawing/2014/main" id="{0D220421-12B6-4B5C-A34C-55CB2E8A6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866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圆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EAA349A2-A320-4D43-8F68-3A1B95C54D5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0362" y="1347788"/>
            <a:ext cx="1908663" cy="1908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tIns="936000"/>
          <a:lstStyle>
            <a:lvl1pPr marL="0" indent="0" algn="ctr">
              <a:buNone/>
              <a:defRPr sz="900" i="1"/>
            </a:lvl1pPr>
          </a:lstStyle>
          <a:p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endParaRPr lang="en-GB" noProof="0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ED8137BB-1ECE-1647-9D2B-D6351DFB226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520950" y="1347788"/>
            <a:ext cx="1908663" cy="1908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marR="0" indent="0" algn="ctr" defTabSz="68600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Volvo Novum Light" panose="020B0604020202020204" pitchFamily="34" charset="0"/>
              <a:buNone/>
              <a:tabLst/>
              <a:defRPr sz="900" i="1"/>
            </a:lvl1pPr>
          </a:lstStyle>
          <a:p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endParaRPr lang="en-GB" noProof="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381E67F-00E8-8F4A-BC95-9DAFE291806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81538" y="1347788"/>
            <a:ext cx="1908663" cy="1908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marR="0" indent="0" algn="ctr" defTabSz="68600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Volvo Novum Light" panose="020B0604020202020204" pitchFamily="34" charset="0"/>
              <a:buNone/>
              <a:tabLst/>
              <a:defRPr sz="900" i="1"/>
            </a:lvl1pPr>
          </a:lstStyle>
          <a:p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endParaRPr lang="en-GB" noProof="0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D17BAECE-64BB-814F-BBE3-F56E4055A42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842125" y="1347788"/>
            <a:ext cx="1908663" cy="1908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tIns="936000"/>
          <a:lstStyle>
            <a:lvl1pPr marL="0" marR="0" indent="0" algn="ctr" defTabSz="68600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Volvo Novum Light" panose="020B0604020202020204" pitchFamily="34" charset="0"/>
              <a:buNone/>
              <a:tabLst/>
              <a:defRPr sz="900" i="1"/>
            </a:lvl1pPr>
          </a:lstStyle>
          <a:p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endParaRPr lang="en-GB" noProof="0" dirty="0"/>
          </a:p>
        </p:txBody>
      </p:sp>
      <p:cxnSp>
        <p:nvCxnSpPr>
          <p:cNvPr id="10" name="Rak 5">
            <a:extLst>
              <a:ext uri="{FF2B5EF4-FFF2-40B4-BE49-F238E27FC236}">
                <a16:creationId xmlns:a16="http://schemas.microsoft.com/office/drawing/2014/main" id="{DDEC33F9-F349-A643-97DF-1CFD1A601DF1}"/>
              </a:ext>
            </a:extLst>
          </p:cNvPr>
          <p:cNvCxnSpPr>
            <a:cxnSpLocks/>
          </p:cNvCxnSpPr>
          <p:nvPr userDrawn="1"/>
        </p:nvCxnSpPr>
        <p:spPr>
          <a:xfrm>
            <a:off x="2394545" y="3364630"/>
            <a:ext cx="0" cy="144073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ak 5">
            <a:extLst>
              <a:ext uri="{FF2B5EF4-FFF2-40B4-BE49-F238E27FC236}">
                <a16:creationId xmlns:a16="http://schemas.microsoft.com/office/drawing/2014/main" id="{9C054490-DE66-074A-8137-03050D90CA0B}"/>
              </a:ext>
            </a:extLst>
          </p:cNvPr>
          <p:cNvCxnSpPr>
            <a:cxnSpLocks/>
          </p:cNvCxnSpPr>
          <p:nvPr userDrawn="1"/>
        </p:nvCxnSpPr>
        <p:spPr>
          <a:xfrm>
            <a:off x="4554911" y="3364630"/>
            <a:ext cx="0" cy="144073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ak 5">
            <a:extLst>
              <a:ext uri="{FF2B5EF4-FFF2-40B4-BE49-F238E27FC236}">
                <a16:creationId xmlns:a16="http://schemas.microsoft.com/office/drawing/2014/main" id="{D22C16C6-0362-604F-A516-67C24034198E}"/>
              </a:ext>
            </a:extLst>
          </p:cNvPr>
          <p:cNvCxnSpPr>
            <a:cxnSpLocks/>
          </p:cNvCxnSpPr>
          <p:nvPr userDrawn="1"/>
        </p:nvCxnSpPr>
        <p:spPr>
          <a:xfrm>
            <a:off x="6715941" y="3364630"/>
            <a:ext cx="0" cy="144073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0F8563D-36B0-FE4D-A073-B69E8571DCE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363" y="3797300"/>
            <a:ext cx="1909762" cy="1008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项</a:t>
            </a:r>
            <a:r>
              <a:rPr lang="ja-JP" altLang="en-US" noProof="0" dirty="0"/>
              <a:t>要点</a:t>
            </a:r>
            <a:endParaRPr lang="en-GB" noProof="0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80AE4D0-E234-FC44-9A75-27629967541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520950" y="3797300"/>
            <a:ext cx="1907598" cy="10080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项</a:t>
            </a:r>
            <a:r>
              <a:rPr lang="ja-JP" altLang="en-US" noProof="0" dirty="0"/>
              <a:t>要点</a:t>
            </a:r>
            <a:endParaRPr lang="en-GB" noProof="0" dirty="0"/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264BDAD6-0EF2-E14A-AF95-FF8C25DD22D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82201" y="3797300"/>
            <a:ext cx="1908000" cy="1008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6739A7-61A8-8140-BB50-18533D5EEC7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842125" y="3797300"/>
            <a:ext cx="1908663" cy="1008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  <a:lvl2pPr>
              <a:defRPr sz="900"/>
            </a:lvl2pPr>
            <a:lvl3pPr>
              <a:defRPr sz="800"/>
            </a:lvl3pPr>
            <a:lvl4pPr marL="247650" indent="0">
              <a:buNone/>
              <a:defRPr sz="900"/>
            </a:lvl4pPr>
            <a:lvl5pPr>
              <a:defRPr sz="8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项</a:t>
            </a:r>
            <a:r>
              <a:rPr lang="ja-JP" altLang="en-US" noProof="0" dirty="0"/>
              <a:t>要点</a:t>
            </a:r>
            <a:endParaRPr lang="en-GB" noProof="0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B32CAADE-3AD6-5546-B659-5C1D1C337A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0361" y="3364630"/>
            <a:ext cx="1908000" cy="21676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 dirty="0"/>
              <a:t>点击添加子标题</a:t>
            </a:r>
            <a:endParaRPr lang="en-GB" noProof="0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CF296816-DE4E-CF43-92FF-AAF587D0BE6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520728" y="3364630"/>
            <a:ext cx="1908000" cy="21676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 dirty="0"/>
              <a:t>点击添加子标题</a:t>
            </a:r>
            <a:endParaRPr lang="en-GB" noProof="0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A034BAA0-F5CF-FA4A-A339-D4EBCA9AC04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81094" y="3364630"/>
            <a:ext cx="1908663" cy="21676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 dirty="0"/>
              <a:t>点击添加子标题</a:t>
            </a:r>
            <a:endParaRPr lang="en-GB" noProof="0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1EC23075-E7FF-1B4D-AA78-08BFE8A651A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842125" y="3364630"/>
            <a:ext cx="1908663" cy="21676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1" i="0">
                <a:latin typeface="Volvo Novum Medium" panose="020B0503040502060204" pitchFamily="34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0" indent="0">
              <a:spcAft>
                <a:spcPts val="0"/>
              </a:spcAft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 dirty="0"/>
              <a:t>点击添加子标题</a:t>
            </a:r>
            <a:endParaRPr lang="en-GB" noProof="0" dirty="0"/>
          </a:p>
        </p:txBody>
      </p:sp>
      <p:pic>
        <p:nvPicPr>
          <p:cNvPr id="23" name="Bildobjekt 7">
            <a:extLst>
              <a:ext uri="{FF2B5EF4-FFF2-40B4-BE49-F238E27FC236}">
                <a16:creationId xmlns:a16="http://schemas.microsoft.com/office/drawing/2014/main" id="{AE40AAA5-05DC-44A6-BA26-DEB87D025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27" name="Title Placeholder 10">
            <a:extLst>
              <a:ext uri="{FF2B5EF4-FFF2-40B4-BE49-F238E27FC236}">
                <a16:creationId xmlns:a16="http://schemas.microsoft.com/office/drawing/2014/main" id="{D7C4EFBC-D363-4FA9-BD16-2A7A69813A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/>
              <a:t>圆形页面 </a:t>
            </a:r>
            <a:r>
              <a:rPr lang="en-US" altLang="zh-CN"/>
              <a:t>- </a:t>
            </a:r>
            <a:r>
              <a:rPr lang="zh-CN" altLang="en-US"/>
              <a:t>点击添加主题</a:t>
            </a:r>
            <a:endParaRPr lang="en-GB" noProof="0" dirty="0"/>
          </a:p>
        </p:txBody>
      </p:sp>
      <p:sp>
        <p:nvSpPr>
          <p:cNvPr id="29" name="Date Placeholder 2">
            <a:extLst>
              <a:ext uri="{FF2B5EF4-FFF2-40B4-BE49-F238E27FC236}">
                <a16:creationId xmlns:a16="http://schemas.microsoft.com/office/drawing/2014/main" id="{496833C5-42A0-4B15-A2D2-E5EDD2F15D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31" name="Footer Placeholder 8">
            <a:extLst>
              <a:ext uri="{FF2B5EF4-FFF2-40B4-BE49-F238E27FC236}">
                <a16:creationId xmlns:a16="http://schemas.microsoft.com/office/drawing/2014/main" id="{281BCE76-FC03-4475-A383-0C3382343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33" name="Slide Number Placeholder 9">
            <a:extLst>
              <a:ext uri="{FF2B5EF4-FFF2-40B4-BE49-F238E27FC236}">
                <a16:creationId xmlns:a16="http://schemas.microsoft.com/office/drawing/2014/main" id="{F917DDE5-6BA4-46DA-8E4A-0BE6B1D831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00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活动日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FD382F-A41A-B34C-BB97-339E7BF79F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363" y="3801160"/>
            <a:ext cx="8389938" cy="1004203"/>
          </a:xfrm>
        </p:spPr>
        <p:txBody>
          <a:bodyPr/>
          <a:lstStyle>
            <a:lvl1pPr>
              <a:defRPr/>
            </a:lvl1pPr>
            <a:lvl2pPr>
              <a:defRPr sz="1000"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D2A8C818-9D87-7544-8ED4-0ECA648E5D4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0363" y="1347788"/>
            <a:ext cx="8390132" cy="282417"/>
          </a:xfrm>
        </p:spPr>
        <p:txBody>
          <a:bodyPr>
            <a:noAutofit/>
          </a:bodyPr>
          <a:lstStyle>
            <a:lvl1pPr marL="9525" indent="0" algn="l">
              <a:spcAft>
                <a:spcPts val="0"/>
              </a:spcAft>
              <a:buFontTx/>
              <a:buNone/>
              <a:tabLst/>
              <a:defRPr lang="en-GB" sz="1400" b="0" i="0" noProof="0" dirty="0" smtClean="0">
                <a:latin typeface="Volvo Novum Light" panose="020B0303040502060204" pitchFamily="34" charset="0"/>
              </a:defRPr>
            </a:lvl1pPr>
            <a:lvl2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2pPr>
            <a:lvl3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3pPr>
            <a:lvl4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4pPr>
            <a:lvl5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5pPr>
            <a:lvl6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6pPr>
            <a:lvl7pPr marL="7938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 smtClean="0">
                <a:latin typeface="Volvo Novum Medium" panose="020B0503040502060204" pitchFamily="34" charset="77"/>
              </a:defRPr>
            </a:lvl8pPr>
            <a:lvl9pPr marL="9525" indent="0" algn="l">
              <a:spcAft>
                <a:spcPts val="0"/>
              </a:spcAft>
              <a:buFontTx/>
              <a:buNone/>
              <a:tabLst/>
              <a:defRPr lang="en-GB" sz="1200" b="0" i="0" noProof="0" dirty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子标题</a:t>
            </a:r>
            <a:endParaRPr lang="en-GB" noProof="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5B3F9B5-77EB-7047-AA91-EFB02BCF3B1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60362" y="1744662"/>
            <a:ext cx="1909764" cy="215901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 anchor="ctr" anchorCtr="0">
            <a:noAutofit/>
          </a:bodyPr>
          <a:lstStyle>
            <a:lvl1pPr marL="7938" indent="0">
              <a:tabLst/>
              <a:defRPr sz="1200" b="1" i="0">
                <a:latin typeface="Volvo Novum Medium" panose="020B0503040502060204" pitchFamily="34" charset="77"/>
              </a:defRPr>
            </a:lvl1pPr>
            <a:lvl2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7938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 dirty="0"/>
              <a:t>点击添加内容文字</a:t>
            </a:r>
            <a:endParaRPr lang="en-GB" noProof="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3F71E83-123E-9440-96A0-34D038D66B7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519361" y="1743911"/>
            <a:ext cx="1909764" cy="216652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 anchor="ctr" anchorCtr="0">
            <a:noAutofit/>
          </a:bodyPr>
          <a:lstStyle>
            <a:lvl1pPr marL="7938" indent="0">
              <a:tabLst/>
              <a:defRPr sz="1200" b="1" i="0">
                <a:latin typeface="Volvo Novum Medium" panose="020B0503040502060204" pitchFamily="34" charset="77"/>
              </a:defRPr>
            </a:lvl1pPr>
            <a:lvl2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7938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/>
              <a:t>点击添加内容文字</a:t>
            </a:r>
            <a:endParaRPr lang="en-GB" noProof="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E5D12CF-24F5-C74A-B1A7-A45313D3FD8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81537" y="1743911"/>
            <a:ext cx="1908175" cy="216652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 anchor="ctr" anchorCtr="0">
            <a:noAutofit/>
          </a:bodyPr>
          <a:lstStyle>
            <a:lvl1pPr marL="7938" indent="0">
              <a:tabLst/>
              <a:defRPr sz="1200" b="1" i="0">
                <a:latin typeface="Volvo Novum Medium" panose="020B0503040502060204" pitchFamily="34" charset="77"/>
              </a:defRPr>
            </a:lvl1pPr>
            <a:lvl2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7938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/>
              <a:t>点击添加内容文字</a:t>
            </a:r>
            <a:endParaRPr lang="en-GB" noProof="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9EBE9AD-20F9-6043-B225-391EDCAD559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846417" y="1743911"/>
            <a:ext cx="1903883" cy="215901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 anchor="ctr" anchorCtr="0">
            <a:noAutofit/>
          </a:bodyPr>
          <a:lstStyle>
            <a:lvl1pPr marL="7938" indent="0">
              <a:tabLst/>
              <a:defRPr sz="1200" b="1" i="0">
                <a:latin typeface="Volvo Novum Medium" panose="020B0503040502060204" pitchFamily="34" charset="77"/>
              </a:defRPr>
            </a:lvl1pPr>
            <a:lvl2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2pPr>
            <a:lvl3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3pPr>
            <a:lvl4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4pPr>
            <a:lvl5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5pPr>
            <a:lvl6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6pPr>
            <a:lvl7pPr marL="7938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7pPr>
            <a:lvl8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8pPr>
            <a:lvl9pPr marL="9525" indent="0">
              <a:buFontTx/>
              <a:buNone/>
              <a:tabLst/>
              <a:defRPr sz="1200" b="0" i="0">
                <a:latin typeface="Volvo Novum Medium" panose="020B0503040502060204" pitchFamily="34" charset="77"/>
              </a:defRPr>
            </a:lvl9pPr>
          </a:lstStyle>
          <a:p>
            <a:pPr lvl="0"/>
            <a:r>
              <a:rPr lang="zh-CN" altLang="en-US" noProof="0"/>
              <a:t>点击添加内容文字</a:t>
            </a:r>
            <a:endParaRPr lang="en-GB" noProof="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90BFC4-6957-7947-8D7E-B0A3F42833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0363" y="1960563"/>
            <a:ext cx="1909762" cy="1620837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800"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B2518BB-6916-BA44-88AA-6EDC09A9BB1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520950" y="1959812"/>
            <a:ext cx="1908176" cy="1620836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800"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D6B19F0B-224A-C74A-9817-B665A0CD30C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681599" y="1959812"/>
            <a:ext cx="1908113" cy="1620836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800"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A6381F8-56A2-F84B-820B-E8A168D07B4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842125" y="1960564"/>
            <a:ext cx="1908175" cy="1620836"/>
          </a:xfrm>
          <a:solidFill>
            <a:schemeClr val="bg1">
              <a:lumMod val="95000"/>
            </a:schemeClr>
          </a:solidFill>
        </p:spPr>
        <p:txBody>
          <a:bodyPr lIns="108000" tIns="72000" rIns="108000" bIns="72000"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800"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</a:p>
          <a:p>
            <a:pPr lvl="2"/>
            <a:r>
              <a:rPr lang="ja-JP" altLang="en-GB" noProof="0"/>
              <a:t>第二项</a:t>
            </a:r>
            <a:r>
              <a:rPr lang="ja-JP" altLang="en-US" noProof="0"/>
              <a:t>要点</a:t>
            </a:r>
            <a:endParaRPr lang="en-GB" noProof="0" dirty="0"/>
          </a:p>
        </p:txBody>
      </p:sp>
      <p:pic>
        <p:nvPicPr>
          <p:cNvPr id="18" name="Bildobjekt 7">
            <a:extLst>
              <a:ext uri="{FF2B5EF4-FFF2-40B4-BE49-F238E27FC236}">
                <a16:creationId xmlns:a16="http://schemas.microsoft.com/office/drawing/2014/main" id="{72CD1028-1FD9-4064-8C9B-2077B3AC4C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7" name="Title Placeholder 10">
            <a:extLst>
              <a:ext uri="{FF2B5EF4-FFF2-40B4-BE49-F238E27FC236}">
                <a16:creationId xmlns:a16="http://schemas.microsoft.com/office/drawing/2014/main" id="{5C6CBD6B-0C17-4A06-8D6F-6F3CB3CCD3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 dirty="0"/>
              <a:t>活动日程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4A81B9C-6BE8-4C9C-950C-A1568A7548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25" name="Footer Placeholder 8">
            <a:extLst>
              <a:ext uri="{FF2B5EF4-FFF2-40B4-BE49-F238E27FC236}">
                <a16:creationId xmlns:a16="http://schemas.microsoft.com/office/drawing/2014/main" id="{193A4F37-C456-4D02-B34A-92A61082C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8" name="Slide Number Placeholder 9">
            <a:extLst>
              <a:ext uri="{FF2B5EF4-FFF2-40B4-BE49-F238E27FC236}">
                <a16:creationId xmlns:a16="http://schemas.microsoft.com/office/drawing/2014/main" id="{95DFED75-E487-46D1-8828-B603EB597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6626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时间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Rak 5">
            <a:extLst>
              <a:ext uri="{FF2B5EF4-FFF2-40B4-BE49-F238E27FC236}">
                <a16:creationId xmlns:a16="http://schemas.microsoft.com/office/drawing/2014/main" id="{E19B146C-0941-3647-AD74-C44D26855374}"/>
              </a:ext>
            </a:extLst>
          </p:cNvPr>
          <p:cNvCxnSpPr>
            <a:cxnSpLocks/>
          </p:cNvCxnSpPr>
          <p:nvPr userDrawn="1"/>
        </p:nvCxnSpPr>
        <p:spPr>
          <a:xfrm>
            <a:off x="2991327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ak 5">
            <a:extLst>
              <a:ext uri="{FF2B5EF4-FFF2-40B4-BE49-F238E27FC236}">
                <a16:creationId xmlns:a16="http://schemas.microsoft.com/office/drawing/2014/main" id="{E21D9437-0F21-9F40-88A5-CEAD6335C22E}"/>
              </a:ext>
            </a:extLst>
          </p:cNvPr>
          <p:cNvCxnSpPr>
            <a:cxnSpLocks/>
          </p:cNvCxnSpPr>
          <p:nvPr userDrawn="1"/>
        </p:nvCxnSpPr>
        <p:spPr>
          <a:xfrm>
            <a:off x="3471221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ak 5">
            <a:extLst>
              <a:ext uri="{FF2B5EF4-FFF2-40B4-BE49-F238E27FC236}">
                <a16:creationId xmlns:a16="http://schemas.microsoft.com/office/drawing/2014/main" id="{C6296EE9-6D79-5041-8FFB-F6BF5AE68B43}"/>
              </a:ext>
            </a:extLst>
          </p:cNvPr>
          <p:cNvCxnSpPr>
            <a:cxnSpLocks/>
          </p:cNvCxnSpPr>
          <p:nvPr userDrawn="1"/>
        </p:nvCxnSpPr>
        <p:spPr>
          <a:xfrm>
            <a:off x="3951115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ak 5">
            <a:extLst>
              <a:ext uri="{FF2B5EF4-FFF2-40B4-BE49-F238E27FC236}">
                <a16:creationId xmlns:a16="http://schemas.microsoft.com/office/drawing/2014/main" id="{20DBCA33-B290-364E-97A6-F5E21BF9EB53}"/>
              </a:ext>
            </a:extLst>
          </p:cNvPr>
          <p:cNvCxnSpPr>
            <a:cxnSpLocks/>
          </p:cNvCxnSpPr>
          <p:nvPr userDrawn="1"/>
        </p:nvCxnSpPr>
        <p:spPr>
          <a:xfrm>
            <a:off x="4431009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ak 5">
            <a:extLst>
              <a:ext uri="{FF2B5EF4-FFF2-40B4-BE49-F238E27FC236}">
                <a16:creationId xmlns:a16="http://schemas.microsoft.com/office/drawing/2014/main" id="{1BEC6A49-6F23-7E43-9BD1-8D1C00FBDDA3}"/>
              </a:ext>
            </a:extLst>
          </p:cNvPr>
          <p:cNvCxnSpPr>
            <a:cxnSpLocks/>
          </p:cNvCxnSpPr>
          <p:nvPr userDrawn="1"/>
        </p:nvCxnSpPr>
        <p:spPr>
          <a:xfrm>
            <a:off x="4910903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ak 5">
            <a:extLst>
              <a:ext uri="{FF2B5EF4-FFF2-40B4-BE49-F238E27FC236}">
                <a16:creationId xmlns:a16="http://schemas.microsoft.com/office/drawing/2014/main" id="{8460CCF8-F179-144C-A211-519F49BF42F6}"/>
              </a:ext>
            </a:extLst>
          </p:cNvPr>
          <p:cNvCxnSpPr>
            <a:cxnSpLocks/>
          </p:cNvCxnSpPr>
          <p:nvPr userDrawn="1"/>
        </p:nvCxnSpPr>
        <p:spPr>
          <a:xfrm>
            <a:off x="5390797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ak 5">
            <a:extLst>
              <a:ext uri="{FF2B5EF4-FFF2-40B4-BE49-F238E27FC236}">
                <a16:creationId xmlns:a16="http://schemas.microsoft.com/office/drawing/2014/main" id="{A1C5FCF5-51B0-BD4D-B1DB-6FDD2867FA10}"/>
              </a:ext>
            </a:extLst>
          </p:cNvPr>
          <p:cNvCxnSpPr>
            <a:cxnSpLocks/>
          </p:cNvCxnSpPr>
          <p:nvPr userDrawn="1"/>
        </p:nvCxnSpPr>
        <p:spPr>
          <a:xfrm>
            <a:off x="5870691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ak 5">
            <a:extLst>
              <a:ext uri="{FF2B5EF4-FFF2-40B4-BE49-F238E27FC236}">
                <a16:creationId xmlns:a16="http://schemas.microsoft.com/office/drawing/2014/main" id="{755B33C8-5C72-264E-8D09-2F7113EE6CDD}"/>
              </a:ext>
            </a:extLst>
          </p:cNvPr>
          <p:cNvCxnSpPr>
            <a:cxnSpLocks/>
          </p:cNvCxnSpPr>
          <p:nvPr userDrawn="1"/>
        </p:nvCxnSpPr>
        <p:spPr>
          <a:xfrm>
            <a:off x="6350585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ak 5">
            <a:extLst>
              <a:ext uri="{FF2B5EF4-FFF2-40B4-BE49-F238E27FC236}">
                <a16:creationId xmlns:a16="http://schemas.microsoft.com/office/drawing/2014/main" id="{531236E0-6B36-484D-9D8A-842EF464BE68}"/>
              </a:ext>
            </a:extLst>
          </p:cNvPr>
          <p:cNvCxnSpPr>
            <a:cxnSpLocks/>
          </p:cNvCxnSpPr>
          <p:nvPr userDrawn="1"/>
        </p:nvCxnSpPr>
        <p:spPr>
          <a:xfrm>
            <a:off x="6830479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Rak 5">
            <a:extLst>
              <a:ext uri="{FF2B5EF4-FFF2-40B4-BE49-F238E27FC236}">
                <a16:creationId xmlns:a16="http://schemas.microsoft.com/office/drawing/2014/main" id="{5EFD583F-7B66-5847-B632-E6971FB6467B}"/>
              </a:ext>
            </a:extLst>
          </p:cNvPr>
          <p:cNvCxnSpPr>
            <a:cxnSpLocks/>
          </p:cNvCxnSpPr>
          <p:nvPr userDrawn="1"/>
        </p:nvCxnSpPr>
        <p:spPr>
          <a:xfrm>
            <a:off x="7310373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ak 5">
            <a:extLst>
              <a:ext uri="{FF2B5EF4-FFF2-40B4-BE49-F238E27FC236}">
                <a16:creationId xmlns:a16="http://schemas.microsoft.com/office/drawing/2014/main" id="{2B6FC392-3B05-094A-AAF7-AFEF0BE4F1F6}"/>
              </a:ext>
            </a:extLst>
          </p:cNvPr>
          <p:cNvCxnSpPr>
            <a:cxnSpLocks/>
          </p:cNvCxnSpPr>
          <p:nvPr userDrawn="1"/>
        </p:nvCxnSpPr>
        <p:spPr>
          <a:xfrm>
            <a:off x="7790267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Rak 5">
            <a:extLst>
              <a:ext uri="{FF2B5EF4-FFF2-40B4-BE49-F238E27FC236}">
                <a16:creationId xmlns:a16="http://schemas.microsoft.com/office/drawing/2014/main" id="{E5B85A63-DA07-8841-86C0-489087524226}"/>
              </a:ext>
            </a:extLst>
          </p:cNvPr>
          <p:cNvCxnSpPr>
            <a:cxnSpLocks/>
          </p:cNvCxnSpPr>
          <p:nvPr userDrawn="1"/>
        </p:nvCxnSpPr>
        <p:spPr>
          <a:xfrm>
            <a:off x="8270161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ak 5">
            <a:extLst>
              <a:ext uri="{FF2B5EF4-FFF2-40B4-BE49-F238E27FC236}">
                <a16:creationId xmlns:a16="http://schemas.microsoft.com/office/drawing/2014/main" id="{7B958941-D087-0449-8004-2CDAF913A2EF}"/>
              </a:ext>
            </a:extLst>
          </p:cNvPr>
          <p:cNvCxnSpPr>
            <a:cxnSpLocks/>
          </p:cNvCxnSpPr>
          <p:nvPr userDrawn="1"/>
        </p:nvCxnSpPr>
        <p:spPr>
          <a:xfrm>
            <a:off x="8750051" y="1726119"/>
            <a:ext cx="0" cy="30792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AE1E9E-CD17-BC41-93BF-8BF55491FE5A}"/>
              </a:ext>
            </a:extLst>
          </p:cNvPr>
          <p:cNvCxnSpPr>
            <a:cxnSpLocks/>
          </p:cNvCxnSpPr>
          <p:nvPr userDrawn="1"/>
        </p:nvCxnSpPr>
        <p:spPr>
          <a:xfrm>
            <a:off x="360363" y="1636440"/>
            <a:ext cx="846493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2ABE6EFD-E1FD-634F-83BE-A92F412D92E9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2991327" y="2152513"/>
            <a:ext cx="2364830" cy="216000"/>
          </a:xfrm>
          <a:prstGeom prst="rect">
            <a:avLst/>
          </a:prstGeom>
          <a:solidFill>
            <a:schemeClr val="accent1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A52D22D8-6F70-DE4A-8D85-761A1B01B20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2991326" y="2560464"/>
            <a:ext cx="1117501" cy="216000"/>
          </a:xfrm>
          <a:prstGeom prst="rect">
            <a:avLst/>
          </a:prstGeom>
          <a:solidFill>
            <a:schemeClr val="accent3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E58CB74-6ABE-BD4E-813C-80D2DE9AB8BA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0363" y="1744451"/>
            <a:ext cx="2160588" cy="216111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/>
              <a:defRPr sz="1200"/>
            </a:lvl1pPr>
            <a:lvl2pPr marL="0" indent="0">
              <a:spcAft>
                <a:spcPts val="0"/>
              </a:spcAft>
              <a:buFontTx/>
              <a:buNone/>
              <a:tabLst/>
              <a:defRPr sz="1200"/>
            </a:lvl2pPr>
            <a:lvl3pPr marL="0" indent="0">
              <a:spcAft>
                <a:spcPts val="0"/>
              </a:spcAft>
              <a:buFontTx/>
              <a:buNone/>
              <a:tabLst/>
              <a:defRPr sz="1200"/>
            </a:lvl3pPr>
            <a:lvl4pPr marL="0" indent="0">
              <a:spcAft>
                <a:spcPts val="0"/>
              </a:spcAft>
              <a:buFontTx/>
              <a:buNone/>
              <a:tabLst/>
              <a:defRPr sz="1200"/>
            </a:lvl4pPr>
            <a:lvl5pPr marL="0" indent="0">
              <a:spcAft>
                <a:spcPts val="0"/>
              </a:spcAft>
              <a:buFontTx/>
              <a:buNone/>
              <a:tabLst/>
              <a:defRPr sz="1200"/>
            </a:lvl5pPr>
            <a:lvl6pPr marL="0" indent="0">
              <a:spcAft>
                <a:spcPts val="0"/>
              </a:spcAft>
              <a:buFontTx/>
              <a:buNone/>
              <a:tabLst/>
              <a:defRPr sz="1200"/>
            </a:lvl6pPr>
            <a:lvl7pPr marL="0" indent="0">
              <a:spcAft>
                <a:spcPts val="0"/>
              </a:spcAft>
              <a:buFontTx/>
              <a:buNone/>
              <a:tabLst/>
              <a:defRPr sz="1200"/>
            </a:lvl7pPr>
            <a:lvl8pPr marL="0" indent="0">
              <a:spcAft>
                <a:spcPts val="0"/>
              </a:spcAft>
              <a:buFontTx/>
              <a:buNone/>
              <a:tabLst/>
              <a:defRPr sz="1200"/>
            </a:lvl8pPr>
            <a:lvl9pPr marL="0" indent="0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活动</a:t>
            </a:r>
            <a:endParaRPr lang="en-GB" noProof="0" dirty="0"/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3AF002C6-2A1E-5B42-9927-65D478FF2340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360363" y="1347788"/>
            <a:ext cx="2160588" cy="20972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/>
              <a:defRPr sz="1200"/>
            </a:lvl1pPr>
            <a:lvl2pPr marL="0" indent="0">
              <a:spcAft>
                <a:spcPts val="0"/>
              </a:spcAft>
              <a:buFontTx/>
              <a:buNone/>
              <a:tabLst/>
              <a:defRPr sz="1200"/>
            </a:lvl2pPr>
            <a:lvl3pPr marL="0" indent="0">
              <a:spcAft>
                <a:spcPts val="0"/>
              </a:spcAft>
              <a:buFontTx/>
              <a:buNone/>
              <a:tabLst/>
              <a:defRPr sz="1200"/>
            </a:lvl3pPr>
            <a:lvl4pPr marL="0" indent="0">
              <a:spcAft>
                <a:spcPts val="0"/>
              </a:spcAft>
              <a:buFontTx/>
              <a:buNone/>
              <a:tabLst/>
              <a:defRPr sz="1200"/>
            </a:lvl4pPr>
            <a:lvl5pPr marL="0" indent="0">
              <a:spcAft>
                <a:spcPts val="0"/>
              </a:spcAft>
              <a:buFontTx/>
              <a:buNone/>
              <a:tabLst/>
              <a:defRPr sz="1200"/>
            </a:lvl5pPr>
            <a:lvl6pPr marL="0" indent="0">
              <a:spcAft>
                <a:spcPts val="0"/>
              </a:spcAft>
              <a:buFontTx/>
              <a:buNone/>
              <a:tabLst/>
              <a:defRPr sz="1200"/>
            </a:lvl6pPr>
            <a:lvl7pPr marL="0" indent="0">
              <a:spcAft>
                <a:spcPts val="0"/>
              </a:spcAft>
              <a:buFontTx/>
              <a:buNone/>
              <a:tabLst/>
              <a:defRPr sz="1200"/>
            </a:lvl7pPr>
            <a:lvl8pPr marL="0" indent="0">
              <a:spcAft>
                <a:spcPts val="0"/>
              </a:spcAft>
              <a:buFontTx/>
              <a:buNone/>
              <a:tabLst/>
              <a:defRPr sz="1200"/>
            </a:lvl8pPr>
            <a:lvl9pPr marL="0" indent="0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29E0FB2C-939A-9444-8FDA-6766A768C531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2991326" y="1744452"/>
            <a:ext cx="849667" cy="216000"/>
          </a:xfrm>
          <a:prstGeom prst="rect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tx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52" name="Text Placeholder 25">
            <a:extLst>
              <a:ext uri="{FF2B5EF4-FFF2-40B4-BE49-F238E27FC236}">
                <a16:creationId xmlns:a16="http://schemas.microsoft.com/office/drawing/2014/main" id="{94EA6E12-1324-544D-BAFB-D0D12470AD45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957705" y="1744452"/>
            <a:ext cx="759898" cy="216000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tx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57" name="Text Placeholder 25">
            <a:extLst>
              <a:ext uri="{FF2B5EF4-FFF2-40B4-BE49-F238E27FC236}">
                <a16:creationId xmlns:a16="http://schemas.microsoft.com/office/drawing/2014/main" id="{D146E394-A2C9-9045-B58E-47957D2D10E0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2991326" y="2968414"/>
            <a:ext cx="1519798" cy="216000"/>
          </a:xfrm>
          <a:prstGeom prst="rect">
            <a:avLst/>
          </a:prstGeom>
          <a:solidFill>
            <a:schemeClr val="accent5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59" name="Text Placeholder 25">
            <a:extLst>
              <a:ext uri="{FF2B5EF4-FFF2-40B4-BE49-F238E27FC236}">
                <a16:creationId xmlns:a16="http://schemas.microsoft.com/office/drawing/2014/main" id="{A66D508A-4A19-4046-A7A7-12E1D1AF8A4E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4206946" y="2560464"/>
            <a:ext cx="2394216" cy="216000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tx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62" name="Text Placeholder 25">
            <a:extLst>
              <a:ext uri="{FF2B5EF4-FFF2-40B4-BE49-F238E27FC236}">
                <a16:creationId xmlns:a16="http://schemas.microsoft.com/office/drawing/2014/main" id="{3703D7F0-B758-F749-80F0-777A111A715E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360363" y="2152513"/>
            <a:ext cx="2160588" cy="216000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/>
              <a:defRPr sz="1200"/>
            </a:lvl1pPr>
            <a:lvl2pPr marL="0" indent="0">
              <a:spcAft>
                <a:spcPts val="0"/>
              </a:spcAft>
              <a:buFontTx/>
              <a:buNone/>
              <a:tabLst/>
              <a:defRPr sz="1200"/>
            </a:lvl2pPr>
            <a:lvl3pPr marL="0" indent="0">
              <a:spcAft>
                <a:spcPts val="0"/>
              </a:spcAft>
              <a:buFontTx/>
              <a:buNone/>
              <a:tabLst/>
              <a:defRPr sz="1200"/>
            </a:lvl3pPr>
            <a:lvl4pPr marL="0" indent="0">
              <a:spcAft>
                <a:spcPts val="0"/>
              </a:spcAft>
              <a:buFontTx/>
              <a:buNone/>
              <a:tabLst/>
              <a:defRPr sz="1200"/>
            </a:lvl4pPr>
            <a:lvl5pPr marL="0" indent="0">
              <a:spcAft>
                <a:spcPts val="0"/>
              </a:spcAft>
              <a:buFontTx/>
              <a:buNone/>
              <a:tabLst/>
              <a:defRPr sz="1200"/>
            </a:lvl5pPr>
            <a:lvl6pPr marL="0" indent="0">
              <a:spcAft>
                <a:spcPts val="0"/>
              </a:spcAft>
              <a:buFontTx/>
              <a:buNone/>
              <a:tabLst/>
              <a:defRPr sz="1200"/>
            </a:lvl6pPr>
            <a:lvl7pPr marL="0" indent="0">
              <a:spcAft>
                <a:spcPts val="0"/>
              </a:spcAft>
              <a:buFontTx/>
              <a:buNone/>
              <a:tabLst/>
              <a:defRPr sz="1200"/>
            </a:lvl7pPr>
            <a:lvl8pPr marL="0" indent="0">
              <a:spcAft>
                <a:spcPts val="0"/>
              </a:spcAft>
              <a:buFontTx/>
              <a:buNone/>
              <a:tabLst/>
              <a:defRPr sz="1200"/>
            </a:lvl8pPr>
            <a:lvl9pPr marL="0" indent="0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活动</a:t>
            </a:r>
            <a:endParaRPr lang="en-GB" noProof="0" dirty="0"/>
          </a:p>
        </p:txBody>
      </p:sp>
      <p:sp>
        <p:nvSpPr>
          <p:cNvPr id="63" name="Text Placeholder 25">
            <a:extLst>
              <a:ext uri="{FF2B5EF4-FFF2-40B4-BE49-F238E27FC236}">
                <a16:creationId xmlns:a16="http://schemas.microsoft.com/office/drawing/2014/main" id="{8F5968CC-ED7D-FE48-8C57-E0249E2B4495}"/>
              </a:ext>
            </a:extLst>
          </p:cNvPr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360363" y="2560464"/>
            <a:ext cx="2160588" cy="216000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/>
              <a:defRPr sz="1200"/>
            </a:lvl1pPr>
            <a:lvl2pPr marL="0" indent="0">
              <a:spcAft>
                <a:spcPts val="0"/>
              </a:spcAft>
              <a:buFontTx/>
              <a:buNone/>
              <a:tabLst/>
              <a:defRPr sz="1200"/>
            </a:lvl2pPr>
            <a:lvl3pPr marL="0" indent="0">
              <a:spcAft>
                <a:spcPts val="0"/>
              </a:spcAft>
              <a:buFontTx/>
              <a:buNone/>
              <a:tabLst/>
              <a:defRPr sz="1200"/>
            </a:lvl3pPr>
            <a:lvl4pPr marL="0" indent="0">
              <a:spcAft>
                <a:spcPts val="0"/>
              </a:spcAft>
              <a:buFontTx/>
              <a:buNone/>
              <a:tabLst/>
              <a:defRPr sz="1200"/>
            </a:lvl4pPr>
            <a:lvl5pPr marL="0" indent="0">
              <a:spcAft>
                <a:spcPts val="0"/>
              </a:spcAft>
              <a:buFontTx/>
              <a:buNone/>
              <a:tabLst/>
              <a:defRPr sz="1200"/>
            </a:lvl5pPr>
            <a:lvl6pPr marL="0" indent="0">
              <a:spcAft>
                <a:spcPts val="0"/>
              </a:spcAft>
              <a:buFontTx/>
              <a:buNone/>
              <a:tabLst/>
              <a:defRPr sz="1200"/>
            </a:lvl6pPr>
            <a:lvl7pPr marL="0" indent="0">
              <a:spcAft>
                <a:spcPts val="0"/>
              </a:spcAft>
              <a:buFontTx/>
              <a:buNone/>
              <a:tabLst/>
              <a:defRPr sz="1200"/>
            </a:lvl7pPr>
            <a:lvl8pPr marL="0" indent="0">
              <a:spcAft>
                <a:spcPts val="0"/>
              </a:spcAft>
              <a:buFontTx/>
              <a:buNone/>
              <a:tabLst/>
              <a:defRPr sz="1200"/>
            </a:lvl8pPr>
            <a:lvl9pPr marL="0" indent="0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活动</a:t>
            </a:r>
            <a:endParaRPr lang="en-GB" noProof="0" dirty="0"/>
          </a:p>
        </p:txBody>
      </p:sp>
      <p:sp>
        <p:nvSpPr>
          <p:cNvPr id="65" name="Text Placeholder 25">
            <a:extLst>
              <a:ext uri="{FF2B5EF4-FFF2-40B4-BE49-F238E27FC236}">
                <a16:creationId xmlns:a16="http://schemas.microsoft.com/office/drawing/2014/main" id="{145A0303-11FB-7C47-A2E7-C2EAFA129C87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360363" y="2968414"/>
            <a:ext cx="2160588" cy="216000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/>
              <a:defRPr sz="1200"/>
            </a:lvl1pPr>
            <a:lvl2pPr marL="0" indent="0">
              <a:spcAft>
                <a:spcPts val="0"/>
              </a:spcAft>
              <a:buFontTx/>
              <a:buNone/>
              <a:tabLst/>
              <a:defRPr sz="1200"/>
            </a:lvl2pPr>
            <a:lvl3pPr marL="0" indent="0">
              <a:spcAft>
                <a:spcPts val="0"/>
              </a:spcAft>
              <a:buFontTx/>
              <a:buNone/>
              <a:tabLst/>
              <a:defRPr sz="1200"/>
            </a:lvl3pPr>
            <a:lvl4pPr marL="0" indent="0">
              <a:spcAft>
                <a:spcPts val="0"/>
              </a:spcAft>
              <a:buFontTx/>
              <a:buNone/>
              <a:tabLst/>
              <a:defRPr sz="1200"/>
            </a:lvl4pPr>
            <a:lvl5pPr marL="0" indent="0">
              <a:spcAft>
                <a:spcPts val="0"/>
              </a:spcAft>
              <a:buFontTx/>
              <a:buNone/>
              <a:tabLst/>
              <a:defRPr sz="1200"/>
            </a:lvl5pPr>
            <a:lvl6pPr marL="0" indent="0">
              <a:spcAft>
                <a:spcPts val="0"/>
              </a:spcAft>
              <a:buFontTx/>
              <a:buNone/>
              <a:tabLst/>
              <a:defRPr sz="1200"/>
            </a:lvl6pPr>
            <a:lvl7pPr marL="0" indent="0">
              <a:spcAft>
                <a:spcPts val="0"/>
              </a:spcAft>
              <a:buFontTx/>
              <a:buNone/>
              <a:tabLst/>
              <a:defRPr sz="1200"/>
            </a:lvl7pPr>
            <a:lvl8pPr marL="0" indent="0">
              <a:spcAft>
                <a:spcPts val="0"/>
              </a:spcAft>
              <a:buFontTx/>
              <a:buNone/>
              <a:tabLst/>
              <a:defRPr sz="1200"/>
            </a:lvl8pPr>
            <a:lvl9pPr marL="0" indent="0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活动</a:t>
            </a:r>
            <a:endParaRPr lang="en-GB" noProof="0" dirty="0"/>
          </a:p>
        </p:txBody>
      </p:sp>
      <p:sp>
        <p:nvSpPr>
          <p:cNvPr id="68" name="Text Placeholder 25">
            <a:extLst>
              <a:ext uri="{FF2B5EF4-FFF2-40B4-BE49-F238E27FC236}">
                <a16:creationId xmlns:a16="http://schemas.microsoft.com/office/drawing/2014/main" id="{7B546369-5196-B945-BFF8-7CD4717AD759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2989263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1</a:t>
            </a:r>
            <a:r>
              <a:rPr lang="zh-CN" altLang="en-US" noProof="0"/>
              <a:t>月</a:t>
            </a:r>
            <a:endParaRPr lang="en-GB" noProof="0" dirty="0"/>
          </a:p>
        </p:txBody>
      </p:sp>
      <p:sp>
        <p:nvSpPr>
          <p:cNvPr id="69" name="Text Placeholder 25">
            <a:extLst>
              <a:ext uri="{FF2B5EF4-FFF2-40B4-BE49-F238E27FC236}">
                <a16:creationId xmlns:a16="http://schemas.microsoft.com/office/drawing/2014/main" id="{F74F8244-3E33-DC4A-9FB7-961745C6068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3469484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2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0" name="Text Placeholder 25">
            <a:extLst>
              <a:ext uri="{FF2B5EF4-FFF2-40B4-BE49-F238E27FC236}">
                <a16:creationId xmlns:a16="http://schemas.microsoft.com/office/drawing/2014/main" id="{ECEE0316-150F-3E48-B0FA-DFA2F365DF01}"/>
              </a:ext>
            </a:extLst>
          </p:cNvPr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3949705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3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1" name="Text Placeholder 25">
            <a:extLst>
              <a:ext uri="{FF2B5EF4-FFF2-40B4-BE49-F238E27FC236}">
                <a16:creationId xmlns:a16="http://schemas.microsoft.com/office/drawing/2014/main" id="{2630CB25-1DE5-614F-ACA0-6505D2FD952B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>
          <a:xfrm>
            <a:off x="4429926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4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2" name="Text Placeholder 25">
            <a:extLst>
              <a:ext uri="{FF2B5EF4-FFF2-40B4-BE49-F238E27FC236}">
                <a16:creationId xmlns:a16="http://schemas.microsoft.com/office/drawing/2014/main" id="{07321FDE-6CDB-2D49-9942-D687AA96D9D4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>
          <a:xfrm>
            <a:off x="4910147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5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3" name="Text Placeholder 25">
            <a:extLst>
              <a:ext uri="{FF2B5EF4-FFF2-40B4-BE49-F238E27FC236}">
                <a16:creationId xmlns:a16="http://schemas.microsoft.com/office/drawing/2014/main" id="{40888CF1-ECFB-1646-8898-040AA1CF8E4C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>
          <a:xfrm>
            <a:off x="5390368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6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4" name="Text Placeholder 25">
            <a:extLst>
              <a:ext uri="{FF2B5EF4-FFF2-40B4-BE49-F238E27FC236}">
                <a16:creationId xmlns:a16="http://schemas.microsoft.com/office/drawing/2014/main" id="{D563044C-B607-1E49-B5FD-7A1480612F15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>
          <a:xfrm>
            <a:off x="5870589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7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7" name="Text Placeholder 25">
            <a:extLst>
              <a:ext uri="{FF2B5EF4-FFF2-40B4-BE49-F238E27FC236}">
                <a16:creationId xmlns:a16="http://schemas.microsoft.com/office/drawing/2014/main" id="{FE3488D1-470F-B64E-BF70-E7BE00105D6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6350810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8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8" name="Text Placeholder 25">
            <a:extLst>
              <a:ext uri="{FF2B5EF4-FFF2-40B4-BE49-F238E27FC236}">
                <a16:creationId xmlns:a16="http://schemas.microsoft.com/office/drawing/2014/main" id="{550A5E8B-E120-5040-8528-928FFC5AAB3D}"/>
              </a:ext>
            </a:extLst>
          </p:cNvPr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6831031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9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79" name="Text Placeholder 25">
            <a:extLst>
              <a:ext uri="{FF2B5EF4-FFF2-40B4-BE49-F238E27FC236}">
                <a16:creationId xmlns:a16="http://schemas.microsoft.com/office/drawing/2014/main" id="{E5ACD1BE-76BC-5949-86F3-5572E3462B9B}"/>
              </a:ext>
            </a:extLst>
          </p:cNvPr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7311252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10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80" name="Text Placeholder 25">
            <a:extLst>
              <a:ext uri="{FF2B5EF4-FFF2-40B4-BE49-F238E27FC236}">
                <a16:creationId xmlns:a16="http://schemas.microsoft.com/office/drawing/2014/main" id="{5962A4C2-D11C-B048-8DE2-D5D022D42BF4}"/>
              </a:ext>
            </a:extLst>
          </p:cNvPr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7791473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11</a:t>
            </a:r>
            <a:r>
              <a:rPr lang="ja-JP" altLang="en-US" noProof="0"/>
              <a:t>月</a:t>
            </a:r>
            <a:endParaRPr lang="en-GB" noProof="0" dirty="0"/>
          </a:p>
        </p:txBody>
      </p:sp>
      <p:sp>
        <p:nvSpPr>
          <p:cNvPr id="81" name="Text Placeholder 25">
            <a:extLst>
              <a:ext uri="{FF2B5EF4-FFF2-40B4-BE49-F238E27FC236}">
                <a16:creationId xmlns:a16="http://schemas.microsoft.com/office/drawing/2014/main" id="{8E488326-5113-8F4E-9E25-8EFB1BE1C394}"/>
              </a:ext>
            </a:extLst>
          </p:cNvPr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8271694" y="1347788"/>
            <a:ext cx="478800" cy="18951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200"/>
            </a:lvl1pPr>
            <a:lvl2pPr marL="0" indent="0" algn="ctr">
              <a:spcAft>
                <a:spcPts val="0"/>
              </a:spcAft>
              <a:buFontTx/>
              <a:buNone/>
              <a:tabLst/>
              <a:defRPr sz="1200"/>
            </a:lvl2pPr>
            <a:lvl3pPr marL="0" indent="0" algn="ctr">
              <a:spcAft>
                <a:spcPts val="0"/>
              </a:spcAft>
              <a:buFontTx/>
              <a:buNone/>
              <a:tabLst/>
              <a:defRPr sz="1200"/>
            </a:lvl3pPr>
            <a:lvl4pPr marL="0" indent="0" algn="ctr">
              <a:spcAft>
                <a:spcPts val="0"/>
              </a:spcAft>
              <a:buFontTx/>
              <a:buNone/>
              <a:tabLst/>
              <a:defRPr sz="1200"/>
            </a:lvl4pPr>
            <a:lvl5pPr marL="0" indent="0" algn="ctr">
              <a:spcAft>
                <a:spcPts val="0"/>
              </a:spcAft>
              <a:buFontTx/>
              <a:buNone/>
              <a:tabLst/>
              <a:defRPr sz="1200"/>
            </a:lvl5pPr>
            <a:lvl6pPr marL="0" indent="0" algn="ctr">
              <a:spcAft>
                <a:spcPts val="0"/>
              </a:spcAft>
              <a:buFontTx/>
              <a:buNone/>
              <a:tabLst/>
              <a:defRPr sz="120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1200"/>
            </a:lvl7pPr>
            <a:lvl8pPr marL="0" indent="0" algn="ctr">
              <a:spcAft>
                <a:spcPts val="0"/>
              </a:spcAft>
              <a:buFontTx/>
              <a:buNone/>
              <a:tabLst/>
              <a:defRPr sz="1200"/>
            </a:lvl8pPr>
            <a:lvl9pPr marL="0" indent="0" algn="ctr">
              <a:spcAft>
                <a:spcPts val="0"/>
              </a:spcAft>
              <a:buFontTx/>
              <a:buNone/>
              <a:tabLst/>
              <a:defRPr sz="1200"/>
            </a:lvl9pPr>
          </a:lstStyle>
          <a:p>
            <a:pPr lvl="0"/>
            <a:r>
              <a:rPr lang="en-US" altLang="zh-CN" noProof="0"/>
              <a:t>12</a:t>
            </a:r>
            <a:r>
              <a:rPr lang="ja-JP" altLang="en-US" noProof="0"/>
              <a:t>月</a:t>
            </a:r>
            <a:endParaRPr lang="en-GB" noProof="0" dirty="0"/>
          </a:p>
        </p:txBody>
      </p:sp>
      <p:pic>
        <p:nvPicPr>
          <p:cNvPr id="53" name="Bildobjekt 7">
            <a:extLst>
              <a:ext uri="{FF2B5EF4-FFF2-40B4-BE49-F238E27FC236}">
                <a16:creationId xmlns:a16="http://schemas.microsoft.com/office/drawing/2014/main" id="{A3751E47-4048-4085-9D34-26FAC9A8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56" name="Text Placeholder 25">
            <a:extLst>
              <a:ext uri="{FF2B5EF4-FFF2-40B4-BE49-F238E27FC236}">
                <a16:creationId xmlns:a16="http://schemas.microsoft.com/office/drawing/2014/main" id="{ABCB861D-3698-49AE-8ACD-41171F7FF030}"/>
              </a:ext>
            </a:extLst>
          </p:cNvPr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5458910" y="2152513"/>
            <a:ext cx="849668" cy="216000"/>
          </a:xfrm>
          <a:prstGeom prst="homePlate">
            <a:avLst/>
          </a:prstGeom>
          <a:solidFill>
            <a:schemeClr val="accent2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tx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75" name="Text Placeholder 25">
            <a:extLst>
              <a:ext uri="{FF2B5EF4-FFF2-40B4-BE49-F238E27FC236}">
                <a16:creationId xmlns:a16="http://schemas.microsoft.com/office/drawing/2014/main" id="{54ABA743-F9AD-4E3D-871B-0F25C0100414}"/>
              </a:ext>
            </a:extLst>
          </p:cNvPr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4619067" y="2968414"/>
            <a:ext cx="839843" cy="216000"/>
          </a:xfrm>
          <a:prstGeom prst="homePlate">
            <a:avLst/>
          </a:prstGeom>
          <a:solidFill>
            <a:schemeClr val="accent6"/>
          </a:solidFill>
        </p:spPr>
        <p:txBody>
          <a:bodyPr anchor="ctr" anchorCtr="0">
            <a:noAutofit/>
          </a:bodyPr>
          <a:lstStyle>
            <a:lvl1pPr algn="ctr">
              <a:defRPr sz="6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调整颜色与长度</a:t>
            </a:r>
            <a:endParaRPr lang="en-GB" noProof="0" dirty="0"/>
          </a:p>
        </p:txBody>
      </p:sp>
      <p:sp>
        <p:nvSpPr>
          <p:cNvPr id="51" name="Title Placeholder 10">
            <a:extLst>
              <a:ext uri="{FF2B5EF4-FFF2-40B4-BE49-F238E27FC236}">
                <a16:creationId xmlns:a16="http://schemas.microsoft.com/office/drawing/2014/main" id="{2CED1D50-07B8-4F6F-AC3B-A45E7753F17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/>
              <a:t>时间线页面 </a:t>
            </a:r>
            <a:r>
              <a:rPr lang="en-US" altLang="zh-CN"/>
              <a:t>- </a:t>
            </a:r>
            <a:r>
              <a:rPr lang="zh-CN" altLang="en-US"/>
              <a:t>点击添加主题</a:t>
            </a:r>
            <a:endParaRPr lang="en-GB" noProof="0" dirty="0"/>
          </a:p>
        </p:txBody>
      </p:sp>
      <p:sp>
        <p:nvSpPr>
          <p:cNvPr id="58" name="Date Placeholder 2">
            <a:extLst>
              <a:ext uri="{FF2B5EF4-FFF2-40B4-BE49-F238E27FC236}">
                <a16:creationId xmlns:a16="http://schemas.microsoft.com/office/drawing/2014/main" id="{CF271D7A-5DE2-4656-8AE5-41EC1641E0DD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60" name="Footer Placeholder 8">
            <a:extLst>
              <a:ext uri="{FF2B5EF4-FFF2-40B4-BE49-F238E27FC236}">
                <a16:creationId xmlns:a16="http://schemas.microsoft.com/office/drawing/2014/main" id="{9D53DC61-F588-4141-90E0-07202DD4F53D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66" name="Slide Number Placeholder 9">
            <a:extLst>
              <a:ext uri="{FF2B5EF4-FFF2-40B4-BE49-F238E27FC236}">
                <a16:creationId xmlns:a16="http://schemas.microsoft.com/office/drawing/2014/main" id="{0AA6B309-0005-4B1E-8C80-23FC9B41C062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3610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8">
            <a:extLst>
              <a:ext uri="{FF2B5EF4-FFF2-40B4-BE49-F238E27FC236}">
                <a16:creationId xmlns:a16="http://schemas.microsoft.com/office/drawing/2014/main" id="{145704C9-1A49-C847-A20C-F5E0DFDEA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7403" y="1976261"/>
            <a:ext cx="992368" cy="992364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27D48FC-B2F0-F949-B048-DCB0A0ADEC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3797300"/>
            <a:ext cx="8389937" cy="395288"/>
          </a:xfrm>
        </p:spPr>
        <p:txBody>
          <a:bodyPr anchor="t" anchorCtr="0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2400" b="0" i="0">
                <a:latin typeface="Volvo Novum Light" panose="020B0303040502060204" pitchFamily="34" charset="77"/>
              </a:defRPr>
            </a:lvl1pPr>
            <a:lvl2pPr marL="0" indent="0" algn="ctr">
              <a:spcAft>
                <a:spcPts val="0"/>
              </a:spcAft>
              <a:buFontTx/>
              <a:buNone/>
              <a:defRPr sz="2400" b="0" i="0"/>
            </a:lvl2pPr>
            <a:lvl3pPr marL="0" indent="0" algn="ctr">
              <a:spcAft>
                <a:spcPts val="0"/>
              </a:spcAft>
              <a:buFontTx/>
              <a:buNone/>
              <a:defRPr sz="2400" b="0" i="0"/>
            </a:lvl3pPr>
            <a:lvl4pPr marL="0" indent="0" algn="ctr">
              <a:spcAft>
                <a:spcPts val="0"/>
              </a:spcAft>
              <a:buFontTx/>
              <a:buNone/>
              <a:defRPr sz="2400" b="0" i="0"/>
            </a:lvl4pPr>
            <a:lvl5pPr marL="0" indent="0" algn="ctr">
              <a:spcAft>
                <a:spcPts val="0"/>
              </a:spcAft>
              <a:buFontTx/>
              <a:buNone/>
              <a:defRPr sz="2400" b="0" i="0"/>
            </a:lvl5pPr>
            <a:lvl6pPr marL="0" indent="0" algn="ctr">
              <a:spcAft>
                <a:spcPts val="0"/>
              </a:spcAft>
              <a:buFontTx/>
              <a:buNone/>
              <a:defRPr sz="2400" b="0" i="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2400" b="0" i="0">
                <a:latin typeface="Volvo Novum Light" panose="020B0303040502060204" pitchFamily="34" charset="77"/>
              </a:defRPr>
            </a:lvl7pPr>
            <a:lvl8pPr marL="0" indent="0" algn="ctr">
              <a:spcAft>
                <a:spcPts val="0"/>
              </a:spcAft>
              <a:buFontTx/>
              <a:buNone/>
              <a:defRPr sz="2400" b="0" i="0"/>
            </a:lvl8pPr>
            <a:lvl9pPr marL="0" indent="0" algn="ctr">
              <a:spcAft>
                <a:spcPts val="0"/>
              </a:spcAft>
              <a:buFontTx/>
              <a:buNone/>
              <a:defRPr sz="2400" b="0" i="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</a:t>
            </a:r>
            <a:r>
              <a:rPr lang="zh-CN" altLang="en-US" noProof="0" dirty="0"/>
              <a:t> </a:t>
            </a:r>
            <a:r>
              <a:rPr lang="ja-JP" altLang="en-US" noProof="0"/>
              <a:t>谢谢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0206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7">
            <a:extLst>
              <a:ext uri="{FF2B5EF4-FFF2-40B4-BE49-F238E27FC236}">
                <a16:creationId xmlns:a16="http://schemas.microsoft.com/office/drawing/2014/main" id="{0ABDB830-8EA8-4DB2-B41C-D9E4C0F02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BB9AC27-9A18-4A9F-8B8E-A7C2A2456C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40A6468E-AD0F-4906-8130-DD5239E18C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AE0DEBE6-2543-4064-847C-6DBD8F3C8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7208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FD345CC0-82DA-7048-839A-198E806AE6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1348408"/>
            <a:ext cx="8389938" cy="504056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algn="ctr">
              <a:lnSpc>
                <a:spcPts val="3800"/>
              </a:lnSpc>
              <a:defRPr sz="3200" spc="50" baseline="0">
                <a:solidFill>
                  <a:schemeClr val="bg1"/>
                </a:solidFill>
                <a:latin typeface="Volvo Novum" panose="02000606020000020004" pitchFamily="2" charset="0"/>
              </a:defRPr>
            </a:lvl1pPr>
            <a:lvl2pPr algn="ctr">
              <a:defRPr sz="3300">
                <a:latin typeface="Volvo Novum" panose="02000606020000020004" pitchFamily="2" charset="0"/>
              </a:defRPr>
            </a:lvl2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演示文档标题</a:t>
            </a:r>
            <a:endParaRPr lang="en-GB" noProof="0" dirty="0"/>
          </a:p>
        </p:txBody>
      </p:sp>
      <p:pic>
        <p:nvPicPr>
          <p:cNvPr id="10" name="Bildobjekt 2">
            <a:extLst>
              <a:ext uri="{FF2B5EF4-FFF2-40B4-BE49-F238E27FC236}">
                <a16:creationId xmlns:a16="http://schemas.microsoft.com/office/drawing/2014/main" id="{A115B01A-43D9-435C-89E5-8028F3D8AD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81C2980-6720-467B-A58D-ADD7C7E48A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951" y="447891"/>
            <a:ext cx="4068763" cy="396461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pPr lvl="0"/>
            <a:r>
              <a:rPr lang="ja-JP" altLang="en-GB" dirty="0"/>
              <a:t>请注意</a:t>
            </a:r>
            <a:r>
              <a:rPr lang="zh-CN" altLang="en-US" dirty="0"/>
              <a:t>：</a:t>
            </a:r>
            <a:r>
              <a:rPr lang="en-US" altLang="zh-CN" dirty="0"/>
              <a:t>Logo</a:t>
            </a:r>
            <a:r>
              <a:rPr lang="ja-JP" altLang="en-US" dirty="0"/>
              <a:t>必须在每页上都可见</a:t>
            </a:r>
            <a:r>
              <a:rPr lang="zh-CN" altLang="en-US" dirty="0"/>
              <a:t>；</a:t>
            </a:r>
            <a:br>
              <a:rPr lang="en-US" altLang="zh-CN" dirty="0"/>
            </a:br>
            <a:r>
              <a:rPr lang="ja-JP" altLang="en-US" dirty="0"/>
              <a:t>每个演示文档只应有一张标题页面</a:t>
            </a:r>
            <a:r>
              <a:rPr lang="zh-CN" altLang="en-US" dirty="0"/>
              <a:t>。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F2615E8-A893-4A16-94F4-6A82C28D5C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57720"/>
            <a:ext cx="8389938" cy="1746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ja-JP" altLang="en-GB"/>
              <a:t>请注意</a:t>
            </a:r>
            <a:r>
              <a:rPr lang="zh-CN" altLang="en-US"/>
              <a:t>：</a:t>
            </a:r>
            <a:r>
              <a:rPr lang="ja-JP" altLang="en-US"/>
              <a:t>观众规模较大时优先使用深色主题版式</a:t>
            </a:r>
            <a:endParaRPr lang="en-GB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47ABE67-B74F-F143-A795-2C82EA74B6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51329" y="4407880"/>
            <a:ext cx="4644516" cy="174664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EE01376A-3D22-BB40-9BE2-1F1800DB63D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896195" y="4630128"/>
            <a:ext cx="1368152" cy="174664"/>
          </a:xfr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73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E952C3B-5206-E148-92F9-5E5B1D72E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89937" cy="323540"/>
          </a:xfrm>
          <a:prstGeom prst="rect">
            <a:avLst/>
          </a:prstGeom>
        </p:spPr>
        <p:txBody>
          <a:bodyPr anchor="b" anchorCtr="0"/>
          <a:lstStyle>
            <a:lvl1pPr algn="l">
              <a:defRPr lang="zh-CN" altLang="en-US" sz="2000" b="1" i="0" kern="1200" noProof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noProof="0" dirty="0"/>
              <a:t>两栏式页面 </a:t>
            </a:r>
            <a:r>
              <a:rPr lang="en-US" altLang="zh-CN" noProof="0" dirty="0"/>
              <a:t>-</a:t>
            </a:r>
            <a:r>
              <a:rPr lang="zh-CN" altLang="en-US" noProof="0" dirty="0"/>
              <a:t> </a:t>
            </a:r>
            <a:r>
              <a:rPr lang="ja-JP" altLang="en-GB" noProof="0" dirty="0"/>
              <a:t>点击</a:t>
            </a:r>
            <a:r>
              <a:rPr lang="ja-JP" altLang="en-US" noProof="0" dirty="0"/>
              <a:t>添加主题</a:t>
            </a:r>
            <a:endParaRPr lang="en-GB" noProof="0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CDC3E0F-7862-2B4B-826D-899D1A6489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119" y="1347787"/>
            <a:ext cx="4068006" cy="3457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  <a:lvl6pPr>
              <a:defRPr sz="700">
                <a:solidFill>
                  <a:schemeClr val="bg1"/>
                </a:solidFill>
              </a:defRPr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3"/>
            <a:r>
              <a:rPr lang="ja-JP" altLang="en-GB" noProof="0" dirty="0"/>
              <a:t>第三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4"/>
            <a:r>
              <a:rPr lang="ja-JP" altLang="en-GB" noProof="0" dirty="0"/>
              <a:t>第四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5"/>
            <a:r>
              <a:rPr lang="ja-JP" altLang="en-GB" noProof="0" dirty="0"/>
              <a:t>第五</a:t>
            </a:r>
            <a:r>
              <a:rPr lang="ja-JP" altLang="en-US" noProof="0" dirty="0"/>
              <a:t>项要点</a:t>
            </a:r>
            <a:endParaRPr lang="en-GB" noProof="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789464-41F1-934D-8ABD-3A7B7811D112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682294" y="1347787"/>
            <a:ext cx="4068006" cy="3457576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9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8C1C0756-99BC-454C-8ECE-5EF7112E5C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EFE7565D-E88C-4DA2-A597-30B963817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3A094260-F17A-4C78-8064-55E63058F9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objekt 2">
            <a:extLst>
              <a:ext uri="{FF2B5EF4-FFF2-40B4-BE49-F238E27FC236}">
                <a16:creationId xmlns:a16="http://schemas.microsoft.com/office/drawing/2014/main" id="{EFBA15A1-AEF4-4004-86E1-009A945090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968DB37-2BF7-4219-83AC-BFED0C9E8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454957"/>
            <a:ext cx="8389938" cy="1746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ja-JP" altLang="en-GB"/>
              <a:t>请注意</a:t>
            </a:r>
            <a:r>
              <a:rPr lang="zh-CN" altLang="en-US"/>
              <a:t>：</a:t>
            </a:r>
            <a:r>
              <a:rPr lang="ja-JP" altLang="en-US"/>
              <a:t>观众规模较大时优先使用深色主题版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29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9E2AA3-CB1E-40B2-AEE0-A53BBF54923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7175" cy="5145088"/>
          </a:xfrm>
          <a:solidFill>
            <a:schemeClr val="bg1">
              <a:lumMod val="85000"/>
            </a:schemeClr>
          </a:solidFill>
        </p:spPr>
        <p:txBody>
          <a:bodyPr lIns="2016000" tIns="0" rIns="0" anchor="ctr" anchorCtr="1">
            <a:normAutofit/>
          </a:bodyPr>
          <a:lstStyle>
            <a:lvl1pPr>
              <a:defRPr sz="10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sv-SE" dirty="0"/>
              <a:t>&lt;&lt; </a:t>
            </a:r>
            <a:r>
              <a:rPr lang="ja-JP" altLang="sv-SE" dirty="0"/>
              <a:t>点击</a:t>
            </a:r>
            <a:r>
              <a:rPr lang="ja-JP" altLang="en-US" dirty="0"/>
              <a:t>添加深色背景图片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D345CC0-82DA-7048-839A-198E806AE6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363" y="1348408"/>
            <a:ext cx="8389938" cy="504056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algn="ctr">
              <a:lnSpc>
                <a:spcPts val="3800"/>
              </a:lnSpc>
              <a:defRPr sz="3200" b="1" spc="50" baseline="0">
                <a:solidFill>
                  <a:schemeClr val="bg1"/>
                </a:solidFill>
                <a:latin typeface="Volvo Novum" panose="02000606020000020004" pitchFamily="2" charset="0"/>
              </a:defRPr>
            </a:lvl1pPr>
            <a:lvl2pPr algn="ctr">
              <a:defRPr sz="3300">
                <a:latin typeface="Volvo Novum" panose="02000606020000020004" pitchFamily="2" charset="0"/>
              </a:defRPr>
            </a:lvl2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演示文档标题</a:t>
            </a:r>
            <a:endParaRPr lang="en-GB" noProof="0" dirty="0"/>
          </a:p>
        </p:txBody>
      </p:sp>
      <p:pic>
        <p:nvPicPr>
          <p:cNvPr id="10" name="Bildobjekt 2">
            <a:extLst>
              <a:ext uri="{FF2B5EF4-FFF2-40B4-BE49-F238E27FC236}">
                <a16:creationId xmlns:a16="http://schemas.microsoft.com/office/drawing/2014/main" id="{A115B01A-43D9-435C-89E5-8028F3D8AD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81C2980-6720-467B-A58D-ADD7C7E48A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45054" y="447399"/>
            <a:ext cx="2070435" cy="331515"/>
          </a:xfrm>
        </p:spPr>
        <p:txBody>
          <a:bodyPr>
            <a:noAutofit/>
          </a:bodyPr>
          <a:lstStyle>
            <a:lvl1pPr algn="ctr">
              <a:spcAft>
                <a:spcPts val="0"/>
              </a:spcAft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pPr lvl="0"/>
            <a:r>
              <a:rPr lang="ja-JP" altLang="en-GB" dirty="0"/>
              <a:t>请注意</a:t>
            </a:r>
            <a:r>
              <a:rPr lang="zh-CN" altLang="en-US" dirty="0"/>
              <a:t>：</a:t>
            </a:r>
            <a:r>
              <a:rPr lang="en-US" altLang="zh-CN" dirty="0"/>
              <a:t>Logo</a:t>
            </a:r>
            <a:r>
              <a:rPr lang="ja-JP" altLang="en-US" dirty="0"/>
              <a:t>必须在每页上都可见</a:t>
            </a:r>
            <a:r>
              <a:rPr lang="zh-CN" altLang="en-US" dirty="0"/>
              <a:t>；</a:t>
            </a:r>
            <a:r>
              <a:rPr lang="ja-JP" altLang="en-US" dirty="0"/>
              <a:t>每个演示文档只应有一张标题页面</a:t>
            </a:r>
            <a:r>
              <a:rPr lang="zh-CN" altLang="en-US" dirty="0"/>
              <a:t>。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EA7D86-16D5-3A45-A3AF-B8E09FD7816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896195" y="4630128"/>
            <a:ext cx="1368152" cy="174664"/>
          </a:xfrm>
        </p:spPr>
        <p:txBody>
          <a:bodyPr/>
          <a:lstStyle>
            <a:lvl1pPr algn="ctr">
              <a:defRPr sz="8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889417-9292-954A-A7F6-674BD3F1A03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51329" y="4407880"/>
            <a:ext cx="4644516" cy="174664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739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多媒体+文字页面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885DC9-6B32-4D57-A7C4-86285ACDBB1C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60363" y="1347788"/>
            <a:ext cx="5508625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0FB03BE-D89D-A34A-8104-C71D37709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21401" y="1347788"/>
            <a:ext cx="2628900" cy="3457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7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相关内容文字</a:t>
            </a:r>
            <a:endParaRPr lang="en-GB" noProof="0" dirty="0"/>
          </a:p>
          <a:p>
            <a:pPr lvl="1"/>
            <a:r>
              <a:rPr lang="ja-JP" altLang="en-GB" noProof="0"/>
              <a:t>第一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2"/>
            <a:r>
              <a:rPr lang="ja-JP" altLang="en-GB" noProof="0"/>
              <a:t>第二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3"/>
            <a:r>
              <a:rPr lang="ja-JP" altLang="en-GB" noProof="0"/>
              <a:t>第三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4"/>
            <a:r>
              <a:rPr lang="ja-JP" altLang="en-GB" noProof="0"/>
              <a:t>第四</a:t>
            </a:r>
            <a:r>
              <a:rPr lang="ja-JP" altLang="en-US" noProof="0"/>
              <a:t>项要点</a:t>
            </a:r>
            <a:endParaRPr lang="en-GB" noProof="0" dirty="0"/>
          </a:p>
          <a:p>
            <a:pPr lvl="5"/>
            <a:r>
              <a:rPr lang="ja-JP" altLang="en-GB" noProof="0"/>
              <a:t>第五</a:t>
            </a:r>
            <a:r>
              <a:rPr lang="ja-JP" altLang="en-US" noProof="0"/>
              <a:t>项要点</a:t>
            </a:r>
            <a:endParaRPr lang="en-GB" noProof="0" dirty="0"/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78C2355D-A248-4789-AF51-E9064DBB7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pPr algn="l"/>
            <a:r>
              <a:rPr lang="zh-CN" altLang="en-US" dirty="0"/>
              <a:t>多媒体</a:t>
            </a:r>
            <a:r>
              <a:rPr lang="en-US" altLang="zh-CN" dirty="0"/>
              <a:t>+</a:t>
            </a:r>
            <a:r>
              <a:rPr lang="zh-CN" altLang="en-US" dirty="0"/>
              <a:t>文字页面 </a:t>
            </a:r>
            <a:r>
              <a:rPr lang="en-US" altLang="zh-CN" noProof="0" dirty="0"/>
              <a:t>-</a:t>
            </a:r>
            <a:r>
              <a:rPr lang="zh-CN" altLang="en-US" noProof="0" dirty="0"/>
              <a:t> </a:t>
            </a:r>
            <a:r>
              <a:rPr lang="ja-JP" altLang="en-GB" noProof="0" dirty="0"/>
              <a:t>点击</a:t>
            </a:r>
            <a:r>
              <a:rPr lang="ja-JP" altLang="en-US" noProof="0" dirty="0"/>
              <a:t>添加主题</a:t>
            </a:r>
            <a:endParaRPr lang="en-GB" noProof="0" dirty="0"/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EBCC21B6-BCFA-477F-BE3C-354DAEB6DC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34C5C430-CD0E-4A41-9601-B8CB63E40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A6FF38EF-AFEB-4459-8B10-B7A41ACE0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objekt 2">
            <a:extLst>
              <a:ext uri="{FF2B5EF4-FFF2-40B4-BE49-F238E27FC236}">
                <a16:creationId xmlns:a16="http://schemas.microsoft.com/office/drawing/2014/main" id="{7ED1962B-695C-4914-9BE4-BE6EE4C87D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12E78B-5838-4C29-9B12-B668749DF4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454957"/>
            <a:ext cx="8389938" cy="1746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ja-JP" altLang="en-GB"/>
              <a:t>请注意</a:t>
            </a:r>
            <a:r>
              <a:rPr lang="zh-CN" altLang="en-US"/>
              <a:t>：</a:t>
            </a:r>
            <a:r>
              <a:rPr lang="ja-JP" altLang="en-US"/>
              <a:t>观众规模较大时优先使用深色主题版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7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多媒体页面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CBED64D-4C42-4F41-81BC-567A17A45D8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61119" y="1347788"/>
            <a:ext cx="8389180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17A4644E-DF8A-4B31-986A-447E95D7C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zh-CN" altLang="en-US" dirty="0"/>
              <a:t>多媒体页面 </a:t>
            </a:r>
            <a:r>
              <a:rPr lang="en-US" altLang="zh-CN" noProof="0" dirty="0"/>
              <a:t>-</a:t>
            </a:r>
            <a:r>
              <a:rPr lang="zh-CN" altLang="en-US" noProof="0" dirty="0"/>
              <a:t> </a:t>
            </a:r>
            <a:r>
              <a:rPr lang="ja-JP" altLang="en-GB" noProof="0"/>
              <a:t>点击</a:t>
            </a:r>
            <a:r>
              <a:rPr lang="ja-JP" altLang="en-US" noProof="0"/>
              <a:t>添加主题</a:t>
            </a:r>
            <a:endParaRPr lang="en-GB" noProof="0" dirty="0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033FDB32-D803-458A-BE25-097CD235A1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00B1141-6DF8-42DD-8814-EFA95990B7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1645B6AB-C1E0-47AC-89E2-681C39DA8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Bildobjekt 2">
            <a:extLst>
              <a:ext uri="{FF2B5EF4-FFF2-40B4-BE49-F238E27FC236}">
                <a16:creationId xmlns:a16="http://schemas.microsoft.com/office/drawing/2014/main" id="{273E1CBD-2849-4DDB-B1E8-9B3FE9F10A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7B87D85-332A-492A-9B5F-4EB571E428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454957"/>
            <a:ext cx="8389938" cy="1746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ja-JP" altLang="en-GB"/>
              <a:t>请注意</a:t>
            </a:r>
            <a:r>
              <a:rPr lang="zh-CN" altLang="en-US"/>
              <a:t>：</a:t>
            </a:r>
            <a:r>
              <a:rPr lang="ja-JP" altLang="en-US"/>
              <a:t>观众规模较大时优先使用深色主题版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70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8">
            <a:extLst>
              <a:ext uri="{FF2B5EF4-FFF2-40B4-BE49-F238E27FC236}">
                <a16:creationId xmlns:a16="http://schemas.microsoft.com/office/drawing/2014/main" id="{145704C9-1A49-C847-A20C-F5E0DFDEA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7403" y="1976261"/>
            <a:ext cx="992368" cy="992364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27D48FC-B2F0-F949-B048-DCB0A0ADEC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3797300"/>
            <a:ext cx="8389937" cy="395288"/>
          </a:xfrm>
        </p:spPr>
        <p:txBody>
          <a:bodyPr anchor="t" anchorCtr="0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20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  <a:lvl2pPr marL="0" indent="0" algn="ctr">
              <a:spcAft>
                <a:spcPts val="0"/>
              </a:spcAft>
              <a:buFontTx/>
              <a:buNone/>
              <a:defRPr sz="2400" b="0" i="0"/>
            </a:lvl2pPr>
            <a:lvl3pPr marL="0" indent="0" algn="ctr">
              <a:spcAft>
                <a:spcPts val="0"/>
              </a:spcAft>
              <a:buFontTx/>
              <a:buNone/>
              <a:defRPr sz="2400" b="0" i="0"/>
            </a:lvl3pPr>
            <a:lvl4pPr marL="0" indent="0" algn="ctr">
              <a:spcAft>
                <a:spcPts val="0"/>
              </a:spcAft>
              <a:buFontTx/>
              <a:buNone/>
              <a:defRPr sz="2400" b="0" i="0"/>
            </a:lvl4pPr>
            <a:lvl5pPr marL="0" indent="0" algn="ctr">
              <a:spcAft>
                <a:spcPts val="0"/>
              </a:spcAft>
              <a:buFontTx/>
              <a:buNone/>
              <a:defRPr sz="2400" b="0" i="0"/>
            </a:lvl5pPr>
            <a:lvl6pPr marL="0" indent="0" algn="ctr">
              <a:spcAft>
                <a:spcPts val="0"/>
              </a:spcAft>
              <a:buFontTx/>
              <a:buNone/>
              <a:defRPr sz="2400" b="0" i="0"/>
            </a:lvl6pPr>
            <a:lvl7pPr marL="0" indent="0" algn="ctr">
              <a:spcAft>
                <a:spcPts val="0"/>
              </a:spcAft>
              <a:buFontTx/>
              <a:buNone/>
              <a:tabLst/>
              <a:defRPr sz="2400" b="0" i="0">
                <a:latin typeface="Volvo Novum Light" panose="020B0303040502060204" pitchFamily="34" charset="77"/>
              </a:defRPr>
            </a:lvl7pPr>
            <a:lvl8pPr marL="0" indent="0" algn="ctr">
              <a:spcAft>
                <a:spcPts val="0"/>
              </a:spcAft>
              <a:buFontTx/>
              <a:buNone/>
              <a:defRPr sz="2400" b="0" i="0"/>
            </a:lvl8pPr>
            <a:lvl9pPr marL="0" indent="0" algn="ctr">
              <a:spcAft>
                <a:spcPts val="0"/>
              </a:spcAft>
              <a:buFontTx/>
              <a:buNone/>
              <a:defRPr sz="2400" b="0" i="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</a:t>
            </a:r>
            <a:r>
              <a:rPr lang="zh-CN" altLang="en-US" noProof="0"/>
              <a:t> </a:t>
            </a:r>
            <a:r>
              <a:rPr lang="ja-JP" altLang="en-US" noProof="0"/>
              <a:t>谢谢</a:t>
            </a:r>
            <a:endParaRPr lang="en-GB" noProof="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281502-5A4C-4D1B-A3AD-B83B23364C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454957"/>
            <a:ext cx="8389938" cy="1746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 b="0" i="1">
                <a:solidFill>
                  <a:schemeClr val="tx1">
                    <a:lumMod val="50000"/>
                    <a:lumOff val="50000"/>
                  </a:schemeClr>
                </a:solidFill>
                <a:latin typeface="Volvo Novum Light" panose="020B0303040502060204" pitchFamily="34" charset="77"/>
              </a:defRPr>
            </a:lvl1pPr>
            <a:lvl2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2pPr>
            <a:lvl3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3pPr>
            <a:lvl4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4pPr>
            <a:lvl5pPr algn="ctr">
              <a:defRPr sz="1000" b="0" i="1">
                <a:solidFill>
                  <a:schemeClr val="bg2"/>
                </a:solidFill>
                <a:latin typeface="Volvo Novum Light" panose="020B0303040502060204" pitchFamily="34" charset="77"/>
              </a:defRPr>
            </a:lvl5pPr>
          </a:lstStyle>
          <a:p>
            <a:r>
              <a:rPr lang="ja-JP" altLang="en-GB"/>
              <a:t>请注意</a:t>
            </a:r>
            <a:r>
              <a:rPr lang="zh-CN" altLang="en-US"/>
              <a:t>：</a:t>
            </a:r>
            <a:r>
              <a:rPr lang="ja-JP" altLang="en-US"/>
              <a:t>观众规模较大时优先使用深色主题版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660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2F19429-57EE-C840-A4AA-A3ADD15C9F0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0363" y="1347787"/>
            <a:ext cx="8389936" cy="3457575"/>
          </a:xfrm>
        </p:spPr>
        <p:txBody>
          <a:bodyPr anchor="t" anchorCtr="0">
            <a:normAutofit/>
          </a:bodyPr>
          <a:lstStyle>
            <a:lvl1pPr marL="228600" indent="-228600" algn="l">
              <a:lnSpc>
                <a:spcPct val="120000"/>
              </a:lnSpc>
              <a:spcAft>
                <a:spcPts val="0"/>
              </a:spcAft>
              <a:buSzPct val="100000"/>
              <a:buFont typeface="+mj-lt"/>
              <a:buAutoNum type="arabicPeriod"/>
              <a:tabLst/>
              <a:defRPr sz="1400"/>
            </a:lvl1pPr>
            <a:lvl2pPr marL="241300" indent="123825" algn="l">
              <a:lnSpc>
                <a:spcPct val="120000"/>
              </a:lnSpc>
              <a:spcAft>
                <a:spcPts val="0"/>
              </a:spcAft>
              <a:buSzPct val="100000"/>
              <a:buFont typeface="Volvo Novum Light" panose="020B0604020202020204" pitchFamily="34" charset="0"/>
              <a:buChar char="•"/>
              <a:tabLst/>
              <a:defRPr sz="1200"/>
            </a:lvl2pPr>
            <a:lvl3pPr marL="368300" indent="120650" algn="l">
              <a:lnSpc>
                <a:spcPct val="120000"/>
              </a:lnSpc>
              <a:spcAft>
                <a:spcPts val="0"/>
              </a:spcAft>
              <a:buSzPct val="100000"/>
              <a:buFont typeface="Volvo Novum Light" panose="020B0604020202020204" pitchFamily="34" charset="0"/>
              <a:buChar char="•"/>
              <a:tabLst/>
              <a:defRPr sz="1100"/>
            </a:lvl3pPr>
            <a:lvl4pPr marL="488950" indent="123825" algn="l">
              <a:lnSpc>
                <a:spcPct val="120000"/>
              </a:lnSpc>
              <a:spcAft>
                <a:spcPts val="0"/>
              </a:spcAft>
              <a:buSzPct val="100000"/>
              <a:buFont typeface="Volvo Novum Light" panose="020B0604020202020204" pitchFamily="34" charset="0"/>
              <a:buChar char="•"/>
              <a:tabLst/>
              <a:defRPr sz="1000"/>
            </a:lvl4pPr>
            <a:lvl5pPr marL="623888" indent="109538" algn="l">
              <a:lnSpc>
                <a:spcPct val="120000"/>
              </a:lnSpc>
              <a:spcAft>
                <a:spcPts val="0"/>
              </a:spcAft>
              <a:buSzPct val="100000"/>
              <a:buFont typeface="Volvo Novum Light" panose="020B0604020202020204" pitchFamily="34" charset="0"/>
              <a:buChar char="•"/>
              <a:tabLst/>
              <a:defRPr sz="900"/>
            </a:lvl5pPr>
            <a:lvl6pPr marL="742950" indent="104775" algn="l">
              <a:lnSpc>
                <a:spcPct val="120000"/>
              </a:lnSpc>
              <a:spcAft>
                <a:spcPts val="0"/>
              </a:spcAft>
              <a:buSzPct val="100000"/>
              <a:buFont typeface="Volvo Novum Light" panose="020B0604020202020204" pitchFamily="34" charset="0"/>
              <a:buChar char="•"/>
              <a:tabLst/>
              <a:defRPr sz="800"/>
            </a:lvl6pPr>
            <a:lvl7pPr marL="741600" indent="1044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/>
              <a:defRPr sz="800" b="0" i="0">
                <a:latin typeface="Volvo Novum Light" panose="020B0303040502060204" pitchFamily="34" charset="77"/>
              </a:defRPr>
            </a:lvl7pPr>
            <a:lvl8pPr marL="741600" indent="1044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tabLst/>
              <a:defRPr sz="800" b="0" i="0">
                <a:latin typeface="Volvo Novum Light" panose="020B0303040502060204" pitchFamily="34" charset="77"/>
              </a:defRPr>
            </a:lvl8pPr>
            <a:lvl9pPr marL="741600" indent="1044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tabLst/>
              <a:defRPr sz="800" b="0" i="0">
                <a:latin typeface="Volvo Novum Light" panose="020B0303040502060204" pitchFamily="34" charset="77"/>
              </a:defRPr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条目</a:t>
            </a:r>
            <a:endParaRPr lang="en-GB" noProof="0" dirty="0"/>
          </a:p>
          <a:p>
            <a:pPr lvl="1"/>
            <a:r>
              <a:rPr lang="ja-JP" altLang="en-GB" noProof="0" dirty="0"/>
              <a:t>第二</a:t>
            </a:r>
            <a:r>
              <a:rPr lang="ja-JP" altLang="en-US" noProof="0" dirty="0"/>
              <a:t>层级</a:t>
            </a:r>
            <a:endParaRPr lang="en-GB" noProof="0" dirty="0"/>
          </a:p>
          <a:p>
            <a:pPr lvl="2"/>
            <a:r>
              <a:rPr lang="ja-JP" altLang="en-US" noProof="0" dirty="0"/>
              <a:t>第三层级</a:t>
            </a:r>
            <a:endParaRPr lang="en-GB" noProof="0" dirty="0"/>
          </a:p>
          <a:p>
            <a:pPr lvl="3"/>
            <a:r>
              <a:rPr lang="ja-JP" altLang="en-GB" noProof="0" dirty="0"/>
              <a:t>第四</a:t>
            </a:r>
            <a:r>
              <a:rPr lang="ja-JP" altLang="en-US" noProof="0" dirty="0"/>
              <a:t>层级</a:t>
            </a:r>
            <a:endParaRPr lang="en-GB" noProof="0" dirty="0"/>
          </a:p>
          <a:p>
            <a:pPr lvl="4"/>
            <a:r>
              <a:rPr lang="ja-JP" altLang="en-GB" noProof="0" dirty="0"/>
              <a:t>第五</a:t>
            </a:r>
            <a:r>
              <a:rPr lang="ja-JP" altLang="en-US" noProof="0" dirty="0"/>
              <a:t>层级</a:t>
            </a:r>
            <a:endParaRPr lang="en-GB" noProof="0" dirty="0"/>
          </a:p>
          <a:p>
            <a:pPr lvl="5"/>
            <a:r>
              <a:rPr lang="ja-JP" altLang="en-GB" noProof="0" dirty="0"/>
              <a:t>第六</a:t>
            </a:r>
            <a:r>
              <a:rPr lang="ja-JP" altLang="en-US" noProof="0" dirty="0"/>
              <a:t>层级</a:t>
            </a:r>
            <a:endParaRPr lang="en-GB" noProof="0" dirty="0"/>
          </a:p>
          <a:p>
            <a:pPr lvl="6"/>
            <a:r>
              <a:rPr lang="ja-JP" altLang="en-GB" noProof="0" dirty="0"/>
              <a:t>第七</a:t>
            </a:r>
            <a:r>
              <a:rPr lang="ja-JP" altLang="en-US" noProof="0" dirty="0"/>
              <a:t>层级</a:t>
            </a:r>
            <a:endParaRPr lang="en-GB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2DC140-AAC2-3D41-8F66-66CFCDF0D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89937" cy="323540"/>
          </a:xfrm>
          <a:prstGeom prst="rect">
            <a:avLst/>
          </a:prstGeom>
        </p:spPr>
        <p:txBody>
          <a:bodyPr anchor="b" anchorCtr="0"/>
          <a:lstStyle>
            <a:lvl1pPr algn="l">
              <a:defRPr sz="2000" b="1"/>
            </a:lvl1pPr>
          </a:lstStyle>
          <a:p>
            <a:r>
              <a:rPr lang="ja-JP" altLang="en-GB" noProof="0" dirty="0"/>
              <a:t>点击</a:t>
            </a:r>
            <a:r>
              <a:rPr lang="ja-JP" altLang="en-US" noProof="0" dirty="0"/>
              <a:t>添加日程或目录标题</a:t>
            </a:r>
            <a:endParaRPr lang="en-GB" noProof="0" dirty="0"/>
          </a:p>
        </p:txBody>
      </p:sp>
      <p:pic>
        <p:nvPicPr>
          <p:cNvPr id="12" name="Bildobjekt 7">
            <a:extLst>
              <a:ext uri="{FF2B5EF4-FFF2-40B4-BE49-F238E27FC236}">
                <a16:creationId xmlns:a16="http://schemas.microsoft.com/office/drawing/2014/main" id="{D4FB8854-6C95-49AE-B011-42DBA345A6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89A8F0BB-8A1C-4465-A249-56CAB66501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81D8C539-5C4D-4517-A0F1-194784EFD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06DAC46F-887F-4A90-A953-FF8625C1D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691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E952C3B-5206-E148-92F9-5E5B1D72E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89937" cy="323540"/>
          </a:xfrm>
          <a:prstGeom prst="rect">
            <a:avLst/>
          </a:prstGeom>
        </p:spPr>
        <p:txBody>
          <a:bodyPr anchor="b" anchorCtr="0"/>
          <a:lstStyle>
            <a:lvl1pPr algn="l">
              <a:defRPr sz="2000" b="1"/>
            </a:lvl1pPr>
          </a:lstStyle>
          <a:p>
            <a:r>
              <a:rPr lang="zh-CN" altLang="en-US" dirty="0"/>
              <a:t>两栏式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CDC3E0F-7862-2B4B-826D-899D1A6489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119" y="1347787"/>
            <a:ext cx="4068006" cy="3457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9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3"/>
            <a:r>
              <a:rPr lang="ja-JP" altLang="en-GB" noProof="0" dirty="0"/>
              <a:t>第三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4"/>
            <a:r>
              <a:rPr lang="ja-JP" altLang="en-GB" noProof="0" dirty="0"/>
              <a:t>第四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5"/>
            <a:r>
              <a:rPr lang="ja-JP" altLang="en-GB" noProof="0" dirty="0"/>
              <a:t>第五</a:t>
            </a:r>
            <a:r>
              <a:rPr lang="ja-JP" altLang="en-US" noProof="0" dirty="0"/>
              <a:t>项要点</a:t>
            </a:r>
            <a:endParaRPr lang="en-GB" noProof="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789464-41F1-934D-8ABD-3A7B7811D112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682294" y="1347787"/>
            <a:ext cx="4068006" cy="3457576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9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pic>
        <p:nvPicPr>
          <p:cNvPr id="11" name="Bildobjekt 7">
            <a:extLst>
              <a:ext uri="{FF2B5EF4-FFF2-40B4-BE49-F238E27FC236}">
                <a16:creationId xmlns:a16="http://schemas.microsoft.com/office/drawing/2014/main" id="{E7C899D7-4150-4D30-997E-B36118D68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8C1C0756-99BC-454C-8ECE-5EF7112E5C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EFE7565D-E88C-4DA2-A597-30B963817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3A094260-F17A-4C78-8064-55E63058F9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4874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C12F9AE-0CC7-A447-8973-8360DE60EFD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1813" y="1966294"/>
            <a:ext cx="5508625" cy="1002331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1pPr>
            <a:lvl2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2pPr>
            <a:lvl3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3pPr>
            <a:lvl4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4pPr>
            <a:lvl5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5pPr>
            <a:lvl6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6pPr>
            <a:lvl7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7pPr>
            <a:lvl8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8pPr>
            <a:lvl9pPr marL="0" indent="0" algn="ctr">
              <a:spcAft>
                <a:spcPts val="0"/>
              </a:spcAft>
              <a:buFontTx/>
              <a:buNone/>
              <a:tabLst/>
              <a:defRPr sz="1400" b="0" i="0">
                <a:latin typeface="Volvo Novum Light" panose="020B0303040502060204" pitchFamily="34" charset="77"/>
              </a:defRPr>
            </a:lvl9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内容文字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9D31AC-E631-1247-8AFD-8EC103E61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1347788"/>
            <a:ext cx="8389938" cy="39955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defRPr sz="2000" b="1"/>
            </a:lvl1pPr>
            <a:lvl2pPr>
              <a:defRPr sz="2400" b="0" i="0">
                <a:latin typeface="Volvo Novum" panose="020B0503040502060204" pitchFamily="34" charset="77"/>
              </a:defRPr>
            </a:lvl2pPr>
          </a:lstStyle>
          <a:p>
            <a:pPr lvl="0"/>
            <a:r>
              <a:rPr lang="zh-CN" altLang="en-US" dirty="0"/>
              <a:t>章节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79F06186-2345-463A-AE3B-F93383CF0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E8DD128A-BB24-4D24-AFFE-BD05B3D86D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C7305819-9A50-4471-8739-35823219A4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A2AEF769-067F-4092-960C-DF7FE2906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8394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全屏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046416EF-3DA6-BB49-9452-D8F2D18492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9147175" cy="51450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2628000"/>
          <a:lstStyle>
            <a:lvl1pPr marL="0" indent="0" algn="ctr">
              <a:lnSpc>
                <a:spcPct val="300000"/>
              </a:lnSpc>
              <a:spcBef>
                <a:spcPts val="0"/>
              </a:spcBef>
              <a:buNone/>
              <a:defRPr sz="900" i="1"/>
            </a:lvl1pPr>
          </a:lstStyle>
          <a:p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endParaRPr lang="en-GB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6DC2ED-9A00-3246-A519-6EED76F44001}"/>
              </a:ext>
            </a:extLst>
          </p:cNvPr>
          <p:cNvSpPr txBox="1"/>
          <p:nvPr userDrawn="1"/>
        </p:nvSpPr>
        <p:spPr>
          <a:xfrm>
            <a:off x="2511461" y="1564105"/>
            <a:ext cx="0" cy="0"/>
          </a:xfrm>
          <a:prstGeom prst="rect">
            <a:avLst/>
          </a:prstGeom>
          <a:noFill/>
        </p:spPr>
        <p:txBody>
          <a:bodyPr wrap="none" lIns="0" tIns="0" rIns="0" rtlCol="0">
            <a:normAutofit fontScale="25000" lnSpcReduction="20000"/>
          </a:bodyPr>
          <a:lstStyle/>
          <a:p>
            <a:pPr algn="l">
              <a:lnSpc>
                <a:spcPct val="120000"/>
              </a:lnSpc>
            </a:pPr>
            <a:endParaRPr lang="en-GB" sz="1200" dirty="0">
              <a:latin typeface="Volvo Novum Light" panose="020B0303040502060204" pitchFamily="34" charset="77"/>
            </a:endParaRPr>
          </a:p>
        </p:txBody>
      </p:sp>
      <p:pic>
        <p:nvPicPr>
          <p:cNvPr id="11" name="Bildobjekt 2">
            <a:extLst>
              <a:ext uri="{FF2B5EF4-FFF2-40B4-BE49-F238E27FC236}">
                <a16:creationId xmlns:a16="http://schemas.microsoft.com/office/drawing/2014/main" id="{51569C91-32AB-8046-BDD5-B8CEA41094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7889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多媒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7">
            <a:extLst>
              <a:ext uri="{FF2B5EF4-FFF2-40B4-BE49-F238E27FC236}">
                <a16:creationId xmlns:a16="http://schemas.microsoft.com/office/drawing/2014/main" id="{DE3E88BB-5832-46E5-BAF1-8E9DB6D802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CBED64D-4C42-4F41-81BC-567A17A45D8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61119" y="1347788"/>
            <a:ext cx="8389180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8" name="Title Placeholder 10">
            <a:extLst>
              <a:ext uri="{FF2B5EF4-FFF2-40B4-BE49-F238E27FC236}">
                <a16:creationId xmlns:a16="http://schemas.microsoft.com/office/drawing/2014/main" id="{17A4644E-DF8A-4B31-986A-447E95D7C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000" b="1"/>
            </a:lvl1pPr>
          </a:lstStyle>
          <a:p>
            <a:pPr algn="l"/>
            <a:r>
              <a:rPr lang="zh-CN" altLang="en-US" dirty="0"/>
              <a:t>多媒体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033FDB32-D803-458A-BE25-097CD235A1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800B1141-6DF8-42DD-8814-EFA95990B7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1645B6AB-C1E0-47AC-89E2-681C39DA8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5798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7">
            <a:extLst>
              <a:ext uri="{FF2B5EF4-FFF2-40B4-BE49-F238E27FC236}">
                <a16:creationId xmlns:a16="http://schemas.microsoft.com/office/drawing/2014/main" id="{66373B09-854B-4B6B-B6D4-1AF4657FAC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885DC9-6B32-4D57-A7C4-86285ACDBB1C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60364" y="1347788"/>
            <a:ext cx="4068762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78C2355D-A248-4789-AF51-E9064DBB7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000" b="1"/>
            </a:lvl1pPr>
          </a:lstStyle>
          <a:p>
            <a:pPr algn="l"/>
            <a:r>
              <a:rPr lang="zh-CN" altLang="en-US" dirty="0"/>
              <a:t>两栏式多媒体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EBCC21B6-BCFA-477F-BE3C-354DAEB6DC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34C5C430-CD0E-4A41-9601-B8CB63E40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A6FF38EF-AFEB-4459-8B10-B7A41ACE0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D09F532-14A6-4F08-99F2-477F6898A06A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681732" y="1347788"/>
            <a:ext cx="4068762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3076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多媒体+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7">
            <a:extLst>
              <a:ext uri="{FF2B5EF4-FFF2-40B4-BE49-F238E27FC236}">
                <a16:creationId xmlns:a16="http://schemas.microsoft.com/office/drawing/2014/main" id="{66373B09-854B-4B6B-B6D4-1AF4657FAC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885DC9-6B32-4D57-A7C4-86285ACDBB1C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60363" y="1347788"/>
            <a:ext cx="5508625" cy="3457575"/>
          </a:xfrm>
          <a:solidFill>
            <a:schemeClr val="bg1">
              <a:lumMod val="85000"/>
            </a:schemeClr>
          </a:solidFill>
        </p:spPr>
        <p:txBody>
          <a:bodyPr tIns="1044000" anchor="ctr" anchorCtr="1">
            <a:normAutofit/>
          </a:bodyPr>
          <a:lstStyle>
            <a:lvl1pPr>
              <a:defRPr sz="900" i="1"/>
            </a:lvl1pPr>
          </a:lstStyle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图片</a:t>
            </a:r>
            <a:r>
              <a:rPr lang="zh-CN" altLang="en-US" noProof="0"/>
              <a:t>，</a:t>
            </a:r>
            <a:r>
              <a:rPr lang="ja-JP" altLang="en-US" noProof="0"/>
              <a:t>图表或其他媒介</a:t>
            </a:r>
            <a:endParaRPr lang="en-GB" noProof="0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0FB03BE-D89D-A34A-8104-C71D37709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21401" y="1347788"/>
            <a:ext cx="2628900" cy="3457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相关内容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3"/>
            <a:r>
              <a:rPr lang="ja-JP" altLang="en-GB" noProof="0" dirty="0"/>
              <a:t>第三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4"/>
            <a:r>
              <a:rPr lang="ja-JP" altLang="en-GB" noProof="0" dirty="0"/>
              <a:t>第四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5"/>
            <a:r>
              <a:rPr lang="ja-JP" altLang="en-GB" noProof="0" dirty="0"/>
              <a:t>第五</a:t>
            </a:r>
            <a:r>
              <a:rPr lang="ja-JP" altLang="en-US" noProof="0" dirty="0"/>
              <a:t>项要点</a:t>
            </a:r>
            <a:endParaRPr lang="en-GB" noProof="0" dirty="0"/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78C2355D-A248-4789-AF51-E9064DBB7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2000" b="1"/>
            </a:lvl1pPr>
          </a:lstStyle>
          <a:p>
            <a:pPr algn="l"/>
            <a:r>
              <a:rPr lang="zh-CN" altLang="en-US" dirty="0"/>
              <a:t>多媒体</a:t>
            </a:r>
            <a:r>
              <a:rPr lang="en-US" altLang="zh-CN" dirty="0"/>
              <a:t>+</a:t>
            </a:r>
            <a:r>
              <a:rPr lang="zh-CN" altLang="en-US" dirty="0"/>
              <a:t>文字页面 </a:t>
            </a:r>
            <a:r>
              <a:rPr lang="en-US" altLang="zh-CN" dirty="0"/>
              <a:t>- </a:t>
            </a:r>
            <a:r>
              <a:rPr lang="zh-CN" altLang="en-US" dirty="0"/>
              <a:t>点击添加主题</a:t>
            </a:r>
            <a:endParaRPr lang="en-GB" noProof="0" dirty="0"/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EBCC21B6-BCFA-477F-BE3C-354DAEB6DC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18" name="Footer Placeholder 8">
            <a:extLst>
              <a:ext uri="{FF2B5EF4-FFF2-40B4-BE49-F238E27FC236}">
                <a16:creationId xmlns:a16="http://schemas.microsoft.com/office/drawing/2014/main" id="{34C5C430-CD0E-4A41-9601-B8CB63E40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A6FF38EF-AFEB-4459-8B10-B7A41ACE0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1813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9039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19" y="1347787"/>
            <a:ext cx="8389181" cy="34575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3"/>
            <a:r>
              <a:rPr lang="ja-JP" altLang="en-GB" noProof="0" dirty="0"/>
              <a:t>第三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4"/>
            <a:r>
              <a:rPr lang="ja-JP" altLang="en-GB" noProof="0" dirty="0"/>
              <a:t>第四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5"/>
            <a:r>
              <a:rPr lang="ja-JP" altLang="en-GB" noProof="0" dirty="0"/>
              <a:t>第五</a:t>
            </a:r>
            <a:r>
              <a:rPr lang="ja-JP" altLang="en-US" noProof="0" dirty="0"/>
              <a:t>项要点</a:t>
            </a:r>
            <a:endParaRPr lang="en-GB" noProof="0" dirty="0"/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AA4802D7-EBFB-0543-BCD6-2989FC41D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ja-JP" altLang="en-GB" noProof="0"/>
              <a:t>点击</a:t>
            </a:r>
            <a:r>
              <a:rPr lang="ja-JP" altLang="en-US" noProof="0"/>
              <a:t>添加标题主题</a:t>
            </a:r>
            <a:endParaRPr lang="en-GB" noProof="0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4DC80B2D-4065-F54F-A055-698FF29D7A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noProof="0"/>
              <a:t>2022/7/10</a:t>
            </a:r>
            <a:endParaRPr lang="en-GB" noProof="0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A46E7C-4D93-8048-B013-2132B2648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 noProof="0"/>
              <a:t>Zhu Xiaofeng’s sharing</a:t>
            </a:r>
            <a:endParaRPr lang="en-GB" noProof="0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D7E79AC-554E-7347-92F7-599B02B6CE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>
                    <a:lumMod val="50000"/>
                  </a:schemeClr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1" name="Bildobjekt 7">
            <a:extLst>
              <a:ext uri="{FF2B5EF4-FFF2-40B4-BE49-F238E27FC236}">
                <a16:creationId xmlns:a16="http://schemas.microsoft.com/office/drawing/2014/main" id="{D2163CA0-0F63-4DF7-BDA4-001FBB35F609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8039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58" r:id="rId2"/>
    <p:sldLayoutId id="2147483757" r:id="rId3"/>
    <p:sldLayoutId id="2147483671" r:id="rId4"/>
    <p:sldLayoutId id="2147483663" r:id="rId5"/>
    <p:sldLayoutId id="2147483702" r:id="rId6"/>
    <p:sldLayoutId id="2147483669" r:id="rId7"/>
    <p:sldLayoutId id="2147483670" r:id="rId8"/>
    <p:sldLayoutId id="2147483759" r:id="rId9"/>
    <p:sldLayoutId id="2147483673" r:id="rId10"/>
    <p:sldLayoutId id="2147483674" r:id="rId11"/>
    <p:sldLayoutId id="2147483696" r:id="rId12"/>
    <p:sldLayoutId id="2147483700" r:id="rId13"/>
    <p:sldLayoutId id="2147483722" r:id="rId14"/>
    <p:sldLayoutId id="2147483725" r:id="rId15"/>
    <p:sldLayoutId id="2147483665" r:id="rId16"/>
    <p:sldLayoutId id="2147483724" r:id="rId17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686006" rtl="0" eaLnBrk="1" latinLnBrk="0" hangingPunct="1">
        <a:lnSpc>
          <a:spcPct val="90000"/>
        </a:lnSpc>
        <a:spcBef>
          <a:spcPct val="0"/>
        </a:spcBef>
        <a:buNone/>
        <a:defRPr lang="en-GB" altLang="en-US" sz="2000" b="1" i="0" kern="1200" noProof="0" dirty="0">
          <a:solidFill>
            <a:schemeClr val="tx1"/>
          </a:solidFill>
          <a:latin typeface="Volvo Novum" panose="020B0503040502060204" pitchFamily="34" charset="77"/>
          <a:ea typeface="+mj-ea"/>
          <a:cs typeface="+mj-cs"/>
        </a:defRPr>
      </a:lvl1pPr>
    </p:titleStyle>
    <p:bodyStyle>
      <a:lvl1pPr marL="0" indent="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None/>
        <a:tabLst/>
        <a:defRPr sz="12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1pPr>
      <a:lvl2pPr marL="126038" indent="-126038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2pPr>
      <a:lvl3pPr marL="134938" indent="103188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10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3pPr>
      <a:lvl4pPr marL="247650" indent="8255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9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4pPr>
      <a:lvl5pPr marL="330200" indent="8255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8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5pPr>
      <a:lvl6pPr marL="419100" indent="69850" algn="l" defTabSz="613984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7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6pPr>
      <a:lvl7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7pPr>
      <a:lvl8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8pPr>
      <a:lvl9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tx1"/>
          </a:solidFill>
          <a:latin typeface="Volvo Novum Light" panose="020B0303040502060204" pitchFamily="34" charset="77"/>
          <a:ea typeface="+mn-ea"/>
          <a:cs typeface="+mn-cs"/>
        </a:defRPr>
      </a:lvl9pPr>
    </p:bodyStyle>
    <p:otherStyle>
      <a:defPPr>
        <a:defRPr lang="en-US"/>
      </a:defPPr>
      <a:lvl1pPr marL="0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3003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6006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9009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2011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5014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8017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1020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4023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7" userDrawn="1">
          <p15:clr>
            <a:srgbClr val="F26B43"/>
          </p15:clr>
        </p15:guide>
        <p15:guide id="3" orient="horz" pos="3027" userDrawn="1">
          <p15:clr>
            <a:srgbClr val="F26B43"/>
          </p15:clr>
        </p15:guide>
        <p15:guide id="4" pos="5512" userDrawn="1">
          <p15:clr>
            <a:srgbClr val="F26B43"/>
          </p15:clr>
        </p15:guide>
        <p15:guide id="5" orient="horz" pos="1235" userDrawn="1">
          <p15:clr>
            <a:srgbClr val="A4A3A4"/>
          </p15:clr>
        </p15:guide>
        <p15:guide id="6" pos="522" userDrawn="1">
          <p15:clr>
            <a:srgbClr val="A4A3A4"/>
          </p15:clr>
        </p15:guide>
        <p15:guide id="7" pos="681" userDrawn="1">
          <p15:clr>
            <a:srgbClr val="A4A3A4"/>
          </p15:clr>
        </p15:guide>
        <p15:guide id="8" pos="976" userDrawn="1">
          <p15:clr>
            <a:srgbClr val="A4A3A4"/>
          </p15:clr>
        </p15:guide>
        <p15:guide id="9" pos="1135" userDrawn="1">
          <p15:clr>
            <a:srgbClr val="A4A3A4"/>
          </p15:clr>
        </p15:guide>
        <p15:guide id="10" pos="1430" userDrawn="1">
          <p15:clr>
            <a:srgbClr val="A4A3A4"/>
          </p15:clr>
        </p15:guide>
        <p15:guide id="11" pos="1588" userDrawn="1">
          <p15:clr>
            <a:srgbClr val="A4A3A4"/>
          </p15:clr>
        </p15:guide>
        <p15:guide id="12" pos="1883" userDrawn="1">
          <p15:clr>
            <a:srgbClr val="A4A3A4"/>
          </p15:clr>
        </p15:guide>
        <p15:guide id="13" pos="2042" userDrawn="1">
          <p15:clr>
            <a:srgbClr val="A4A3A4"/>
          </p15:clr>
        </p15:guide>
        <p15:guide id="14" pos="2337" userDrawn="1">
          <p15:clr>
            <a:srgbClr val="A4A3A4"/>
          </p15:clr>
        </p15:guide>
        <p15:guide id="15" pos="2495" userDrawn="1">
          <p15:clr>
            <a:srgbClr val="A4A3A4"/>
          </p15:clr>
        </p15:guide>
        <p15:guide id="16" pos="2790" userDrawn="1">
          <p15:clr>
            <a:srgbClr val="5ACBF0"/>
          </p15:clr>
        </p15:guide>
        <p15:guide id="17" pos="2949" userDrawn="1">
          <p15:clr>
            <a:srgbClr val="5ACBF0"/>
          </p15:clr>
        </p15:guide>
        <p15:guide id="18" pos="3244" userDrawn="1">
          <p15:clr>
            <a:srgbClr val="A4A3A4"/>
          </p15:clr>
        </p15:guide>
        <p15:guide id="19" pos="3403" userDrawn="1">
          <p15:clr>
            <a:srgbClr val="A4A3A4"/>
          </p15:clr>
        </p15:guide>
        <p15:guide id="20" pos="3697" userDrawn="1">
          <p15:clr>
            <a:srgbClr val="A4A3A4"/>
          </p15:clr>
        </p15:guide>
        <p15:guide id="21" pos="3856" userDrawn="1">
          <p15:clr>
            <a:srgbClr val="A4A3A4"/>
          </p15:clr>
        </p15:guide>
        <p15:guide id="22" pos="4151" userDrawn="1">
          <p15:clr>
            <a:srgbClr val="A4A3A4"/>
          </p15:clr>
        </p15:guide>
        <p15:guide id="23" pos="4310" userDrawn="1">
          <p15:clr>
            <a:srgbClr val="A4A3A4"/>
          </p15:clr>
        </p15:guide>
        <p15:guide id="24" pos="4605" userDrawn="1">
          <p15:clr>
            <a:srgbClr val="A4A3A4"/>
          </p15:clr>
        </p15:guide>
        <p15:guide id="25" pos="4763" userDrawn="1">
          <p15:clr>
            <a:srgbClr val="A4A3A4"/>
          </p15:clr>
        </p15:guide>
        <p15:guide id="26" pos="5058" userDrawn="1">
          <p15:clr>
            <a:srgbClr val="A4A3A4"/>
          </p15:clr>
        </p15:guide>
        <p15:guide id="27" pos="5217" userDrawn="1">
          <p15:clr>
            <a:srgbClr val="A4A3A4"/>
          </p15:clr>
        </p15:guide>
        <p15:guide id="28" orient="horz" pos="1099" userDrawn="1">
          <p15:clr>
            <a:srgbClr val="A4A3A4"/>
          </p15:clr>
        </p15:guide>
        <p15:guide id="29" orient="horz" pos="1484" userDrawn="1">
          <p15:clr>
            <a:srgbClr val="A4A3A4"/>
          </p15:clr>
        </p15:guide>
        <p15:guide id="30" orient="horz" pos="1621" userDrawn="1">
          <p15:clr>
            <a:srgbClr val="A4A3A4"/>
          </p15:clr>
        </p15:guide>
        <p15:guide id="31" orient="horz" pos="1870" userDrawn="1">
          <p15:clr>
            <a:srgbClr val="5ACBF0"/>
          </p15:clr>
        </p15:guide>
        <p15:guide id="32" orient="horz" pos="2006" userDrawn="1">
          <p15:clr>
            <a:srgbClr val="5ACBF0"/>
          </p15:clr>
        </p15:guide>
        <p15:guide id="33" orient="horz" pos="2256" userDrawn="1">
          <p15:clr>
            <a:srgbClr val="A4A3A4"/>
          </p15:clr>
        </p15:guide>
        <p15:guide id="34" orient="horz" pos="2392" userDrawn="1">
          <p15:clr>
            <a:srgbClr val="A4A3A4"/>
          </p15:clr>
        </p15:guide>
        <p15:guide id="35" orient="horz" pos="2641" userDrawn="1">
          <p15:clr>
            <a:srgbClr val="A4A3A4"/>
          </p15:clr>
        </p15:guide>
        <p15:guide id="36" orient="horz" pos="2777" userDrawn="1">
          <p15:clr>
            <a:srgbClr val="A4A3A4"/>
          </p15:clr>
        </p15:guide>
        <p15:guide id="37" orient="horz" pos="849" userDrawn="1">
          <p15:clr>
            <a:srgbClr val="F26B43"/>
          </p15:clr>
        </p15:guide>
        <p15:guide id="38" orient="horz" pos="713" userDrawn="1">
          <p15:clr>
            <a:srgbClr val="A4A3A4"/>
          </p15:clr>
        </p15:guide>
        <p15:guide id="39" orient="horz" pos="3163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482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19" y="1347787"/>
            <a:ext cx="8389181" cy="34575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ja-JP" altLang="en-GB" noProof="0" dirty="0"/>
              <a:t>点击</a:t>
            </a:r>
            <a:r>
              <a:rPr lang="ja-JP" altLang="en-US" noProof="0" dirty="0"/>
              <a:t>添加文字</a:t>
            </a:r>
            <a:endParaRPr lang="en-GB" noProof="0" dirty="0"/>
          </a:p>
          <a:p>
            <a:pPr lvl="1"/>
            <a:r>
              <a:rPr lang="ja-JP" altLang="en-GB" noProof="0" dirty="0"/>
              <a:t>第一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2"/>
            <a:r>
              <a:rPr lang="ja-JP" altLang="en-GB" noProof="0" dirty="0"/>
              <a:t>第二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3"/>
            <a:r>
              <a:rPr lang="ja-JP" altLang="en-GB" noProof="0" dirty="0"/>
              <a:t>第三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4"/>
            <a:r>
              <a:rPr lang="ja-JP" altLang="en-GB" noProof="0" dirty="0"/>
              <a:t>第四</a:t>
            </a:r>
            <a:r>
              <a:rPr lang="ja-JP" altLang="en-US" noProof="0" dirty="0"/>
              <a:t>项要点</a:t>
            </a:r>
            <a:endParaRPr lang="en-GB" noProof="0" dirty="0"/>
          </a:p>
          <a:p>
            <a:pPr lvl="5"/>
            <a:r>
              <a:rPr lang="ja-JP" altLang="en-GB" noProof="0" dirty="0"/>
              <a:t>第五</a:t>
            </a:r>
            <a:r>
              <a:rPr lang="ja-JP" altLang="en-US" noProof="0" dirty="0"/>
              <a:t>项要点</a:t>
            </a:r>
            <a:endParaRPr lang="en-GB" noProof="0" dirty="0"/>
          </a:p>
        </p:txBody>
      </p:sp>
      <p:sp>
        <p:nvSpPr>
          <p:cNvPr id="12" name="Title Placeholder 10">
            <a:extLst>
              <a:ext uri="{FF2B5EF4-FFF2-40B4-BE49-F238E27FC236}">
                <a16:creationId xmlns:a16="http://schemas.microsoft.com/office/drawing/2014/main" id="{AA4802D7-EBFB-0543-BCD6-2989FC41D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808348"/>
            <a:ext cx="8390131" cy="3235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algn="l"/>
            <a:r>
              <a:rPr lang="ja-JP" altLang="en-GB" noProof="0" dirty="0"/>
              <a:t>点击</a:t>
            </a:r>
            <a:r>
              <a:rPr lang="ja-JP" altLang="en-US" noProof="0" dirty="0"/>
              <a:t>添加主题</a:t>
            </a:r>
            <a:endParaRPr lang="en-GB" noProof="0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4DC80B2D-4065-F54F-A055-698FF29D7A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363" y="4919069"/>
            <a:ext cx="468312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7938" indent="0" algn="l">
              <a:tabLst/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A46E7C-4D93-8048-B013-2132B2648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199" y="4917327"/>
            <a:ext cx="3347926" cy="10393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D7E79AC-554E-7347-92F7-599B02B6CE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9463" y="4919069"/>
            <a:ext cx="361031" cy="10219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 b="0" i="0">
                <a:solidFill>
                  <a:schemeClr val="bg1"/>
                </a:solidFill>
                <a:latin typeface="Volvo Novum Light" panose="020B0303040502060204" pitchFamily="34" charset="77"/>
              </a:defRPr>
            </a:lvl1pPr>
          </a:lstStyle>
          <a:p>
            <a:fld id="{EECA8F73-ACC7-A64F-8F77-C8CBCE9A3A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603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4" r:id="rId2"/>
    <p:sldLayoutId id="2147483769" r:id="rId3"/>
    <p:sldLayoutId id="2147483767" r:id="rId4"/>
    <p:sldLayoutId id="2147483776" r:id="rId5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686006" rtl="0" eaLnBrk="1" latinLnBrk="0" hangingPunct="1">
        <a:lnSpc>
          <a:spcPct val="120000"/>
        </a:lnSpc>
        <a:spcBef>
          <a:spcPct val="0"/>
        </a:spcBef>
        <a:buNone/>
        <a:defRPr sz="2000" b="1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None/>
        <a:tabLst/>
        <a:defRPr sz="12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126038" indent="-126038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12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2pPr>
      <a:lvl3pPr marL="134938" indent="103188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10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3pPr>
      <a:lvl4pPr marL="247650" indent="8255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9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4pPr>
      <a:lvl5pPr marL="330200" indent="82550" algn="l" defTabSz="686006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8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5pPr>
      <a:lvl6pPr marL="419100" indent="69850" algn="l" defTabSz="613984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tabLst/>
        <a:defRPr sz="700" b="0" i="0" kern="1200">
          <a:solidFill>
            <a:schemeClr val="bg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6pPr>
      <a:lvl7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bg1"/>
          </a:solidFill>
          <a:latin typeface="Volvo Novum Light" panose="020B0303040502060204" pitchFamily="34" charset="77"/>
          <a:ea typeface="+mn-ea"/>
          <a:cs typeface="+mn-cs"/>
        </a:defRPr>
      </a:lvl7pPr>
      <a:lvl8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bg1"/>
          </a:solidFill>
          <a:latin typeface="Volvo Novum Light" panose="020B0303040502060204" pitchFamily="34" charset="77"/>
          <a:ea typeface="+mn-ea"/>
          <a:cs typeface="+mn-cs"/>
        </a:defRPr>
      </a:lvl8pPr>
      <a:lvl9pPr marL="417600" indent="68400" algn="l" defTabSz="6860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80000"/>
        <a:buFont typeface="Volvo Novum Light" panose="020B0604020202020204" pitchFamily="34" charset="0"/>
        <a:buChar char="•"/>
        <a:defRPr sz="700" b="0" i="0" kern="1200">
          <a:solidFill>
            <a:schemeClr val="bg1"/>
          </a:solidFill>
          <a:latin typeface="Volvo Novum Light" panose="020B0303040502060204" pitchFamily="34" charset="77"/>
          <a:ea typeface="+mn-ea"/>
          <a:cs typeface="+mn-cs"/>
        </a:defRPr>
      </a:lvl9pPr>
    </p:bodyStyle>
    <p:otherStyle>
      <a:defPPr>
        <a:defRPr lang="en-US"/>
      </a:defPPr>
      <a:lvl1pPr marL="0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3003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6006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9009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2011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5014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8017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1020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4023" algn="l" defTabSz="68600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7">
          <p15:clr>
            <a:srgbClr val="F26B43"/>
          </p15:clr>
        </p15:guide>
        <p15:guide id="3" orient="horz" pos="3027">
          <p15:clr>
            <a:srgbClr val="F26B43"/>
          </p15:clr>
        </p15:guide>
        <p15:guide id="4" pos="5512">
          <p15:clr>
            <a:srgbClr val="F26B43"/>
          </p15:clr>
        </p15:guide>
        <p15:guide id="5" orient="horz" pos="1235">
          <p15:clr>
            <a:srgbClr val="A4A3A4"/>
          </p15:clr>
        </p15:guide>
        <p15:guide id="6" pos="522">
          <p15:clr>
            <a:srgbClr val="A4A3A4"/>
          </p15:clr>
        </p15:guide>
        <p15:guide id="7" pos="681">
          <p15:clr>
            <a:srgbClr val="A4A3A4"/>
          </p15:clr>
        </p15:guide>
        <p15:guide id="8" pos="976">
          <p15:clr>
            <a:srgbClr val="A4A3A4"/>
          </p15:clr>
        </p15:guide>
        <p15:guide id="9" pos="1135">
          <p15:clr>
            <a:srgbClr val="A4A3A4"/>
          </p15:clr>
        </p15:guide>
        <p15:guide id="10" pos="1430">
          <p15:clr>
            <a:srgbClr val="A4A3A4"/>
          </p15:clr>
        </p15:guide>
        <p15:guide id="11" pos="1588">
          <p15:clr>
            <a:srgbClr val="A4A3A4"/>
          </p15:clr>
        </p15:guide>
        <p15:guide id="12" pos="1883">
          <p15:clr>
            <a:srgbClr val="A4A3A4"/>
          </p15:clr>
        </p15:guide>
        <p15:guide id="13" pos="2042">
          <p15:clr>
            <a:srgbClr val="A4A3A4"/>
          </p15:clr>
        </p15:guide>
        <p15:guide id="14" pos="2337">
          <p15:clr>
            <a:srgbClr val="A4A3A4"/>
          </p15:clr>
        </p15:guide>
        <p15:guide id="15" pos="2495">
          <p15:clr>
            <a:srgbClr val="A4A3A4"/>
          </p15:clr>
        </p15:guide>
        <p15:guide id="16" pos="2790">
          <p15:clr>
            <a:srgbClr val="5ACBF0"/>
          </p15:clr>
        </p15:guide>
        <p15:guide id="17" pos="2949">
          <p15:clr>
            <a:srgbClr val="5ACBF0"/>
          </p15:clr>
        </p15:guide>
        <p15:guide id="18" pos="3244">
          <p15:clr>
            <a:srgbClr val="A4A3A4"/>
          </p15:clr>
        </p15:guide>
        <p15:guide id="19" pos="3403">
          <p15:clr>
            <a:srgbClr val="A4A3A4"/>
          </p15:clr>
        </p15:guide>
        <p15:guide id="20" pos="3697">
          <p15:clr>
            <a:srgbClr val="A4A3A4"/>
          </p15:clr>
        </p15:guide>
        <p15:guide id="21" pos="3856">
          <p15:clr>
            <a:srgbClr val="A4A3A4"/>
          </p15:clr>
        </p15:guide>
        <p15:guide id="22" pos="4151">
          <p15:clr>
            <a:srgbClr val="A4A3A4"/>
          </p15:clr>
        </p15:guide>
        <p15:guide id="23" pos="4310">
          <p15:clr>
            <a:srgbClr val="A4A3A4"/>
          </p15:clr>
        </p15:guide>
        <p15:guide id="24" pos="4605">
          <p15:clr>
            <a:srgbClr val="A4A3A4"/>
          </p15:clr>
        </p15:guide>
        <p15:guide id="25" pos="4763">
          <p15:clr>
            <a:srgbClr val="A4A3A4"/>
          </p15:clr>
        </p15:guide>
        <p15:guide id="26" pos="5058">
          <p15:clr>
            <a:srgbClr val="A4A3A4"/>
          </p15:clr>
        </p15:guide>
        <p15:guide id="27" pos="5217">
          <p15:clr>
            <a:srgbClr val="A4A3A4"/>
          </p15:clr>
        </p15:guide>
        <p15:guide id="28" orient="horz" pos="1099">
          <p15:clr>
            <a:srgbClr val="A4A3A4"/>
          </p15:clr>
        </p15:guide>
        <p15:guide id="29" orient="horz" pos="1484">
          <p15:clr>
            <a:srgbClr val="A4A3A4"/>
          </p15:clr>
        </p15:guide>
        <p15:guide id="30" orient="horz" pos="1621">
          <p15:clr>
            <a:srgbClr val="A4A3A4"/>
          </p15:clr>
        </p15:guide>
        <p15:guide id="31" orient="horz" pos="1870">
          <p15:clr>
            <a:srgbClr val="5ACBF0"/>
          </p15:clr>
        </p15:guide>
        <p15:guide id="32" orient="horz" pos="2006">
          <p15:clr>
            <a:srgbClr val="5ACBF0"/>
          </p15:clr>
        </p15:guide>
        <p15:guide id="33" orient="horz" pos="2256">
          <p15:clr>
            <a:srgbClr val="A4A3A4"/>
          </p15:clr>
        </p15:guide>
        <p15:guide id="34" orient="horz" pos="2392">
          <p15:clr>
            <a:srgbClr val="A4A3A4"/>
          </p15:clr>
        </p15:guide>
        <p15:guide id="35" orient="horz" pos="2641">
          <p15:clr>
            <a:srgbClr val="A4A3A4"/>
          </p15:clr>
        </p15:guide>
        <p15:guide id="36" orient="horz" pos="2777">
          <p15:clr>
            <a:srgbClr val="A4A3A4"/>
          </p15:clr>
        </p15:guide>
        <p15:guide id="37" orient="horz" pos="849">
          <p15:clr>
            <a:srgbClr val="F26B43"/>
          </p15:clr>
        </p15:guide>
        <p15:guide id="38" orient="horz" pos="713">
          <p15:clr>
            <a:srgbClr val="A4A3A4"/>
          </p15:clr>
        </p15:guide>
        <p15:guide id="39" orient="horz" pos="3163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68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/>
          <p:cNvPicPr>
            <a:picLocks noGrp="1" noChangeAspect="1"/>
          </p:cNvPicPr>
          <p:nvPr>
            <p:ph type="pic" sz="quarter" idx="16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+mj-ea"/>
              </a:rPr>
              <a:t>Zhu </a:t>
            </a:r>
            <a:r>
              <a:rPr lang="en-US" dirty="0" err="1">
                <a:latin typeface="+mj-ea"/>
              </a:rPr>
              <a:t>Xiaofeng’s</a:t>
            </a:r>
            <a:r>
              <a:rPr lang="en-US" dirty="0">
                <a:latin typeface="+mj-ea"/>
              </a:rPr>
              <a:t> </a:t>
            </a:r>
            <a:r>
              <a:rPr lang="en-US" altLang="zh-CN" dirty="0">
                <a:latin typeface="+mj-ea"/>
              </a:rPr>
              <a:t>sharing</a:t>
            </a:r>
            <a:endParaRPr lang="en-GB" dirty="0">
              <a:latin typeface="+mj-ea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pic>
        <p:nvPicPr>
          <p:cNvPr id="7" name="Bildobjekt 2">
            <a:extLst>
              <a:ext uri="{FF2B5EF4-FFF2-40B4-BE49-F238E27FC236}">
                <a16:creationId xmlns:a16="http://schemas.microsoft.com/office/drawing/2014/main" id="{26729A9F-4E8B-DC49-A692-FE0AC70C014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523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 AT log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D79FFD-FEC0-4B1D-B2FB-72ACC4CF3FD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8451" y="1492423"/>
            <a:ext cx="4567184" cy="29842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E2C9E5-E26C-4F25-ABAE-0FD49757B243}"/>
              </a:ext>
            </a:extLst>
          </p:cNvPr>
          <p:cNvPicPr/>
          <p:nvPr/>
        </p:nvPicPr>
        <p:blipFill rotWithShape="1">
          <a:blip r:embed="rId3"/>
          <a:srcRect r="14079"/>
          <a:stretch/>
        </p:blipFill>
        <p:spPr bwMode="auto">
          <a:xfrm>
            <a:off x="5365675" y="1204392"/>
            <a:ext cx="3065204" cy="29186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7801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</a:t>
            </a:r>
            <a:r>
              <a:rPr lang="en-US" altLang="zh-CN" dirty="0"/>
              <a:t>nter the cause of</a:t>
            </a:r>
            <a:r>
              <a:rPr lang="en-US" dirty="0"/>
              <a:t> fail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5869731" y="1492424"/>
            <a:ext cx="26899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dirty="0"/>
              <a:t>Environment or SW issue?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dirty="0"/>
              <a:t>Legacy or new?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dirty="0"/>
              <a:t>Notes: rerun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   In order to avoid excessive fail due to 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environmental problems, rerun mechanism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was introduced</a:t>
            </a:r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DC95B1-6F20-41B7-B3E1-A4670CA64F03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97123" y="1492424"/>
            <a:ext cx="5398054" cy="2912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0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4787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ernet’s histor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74116" y="1523026"/>
            <a:ext cx="7687773" cy="24436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dirty="0"/>
              <a:t>20 century </a:t>
            </a:r>
            <a:r>
              <a:rPr lang="zh-CN" altLang="en-US" sz="1200" dirty="0"/>
              <a:t>‘</a:t>
            </a:r>
            <a:r>
              <a:rPr lang="en-US" sz="1200" dirty="0"/>
              <a:t> 70 s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Ethernet is a computer LAN technology.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The IEEE 802.3 standard is the technical standard for Ethernet,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which includes the content of the physical layer connection, 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electronic signal and media access layer protocol.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Ethernet is the most widely used LAN technology,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displacing other LAN technologies</a:t>
            </a:r>
            <a:endParaRPr lang="en-US" sz="1000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1049895-1D7D-4F7B-8203-49345603B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531" y="808348"/>
            <a:ext cx="4572003" cy="3456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46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parison between Ethernet &amp; CA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320E4DA-AA54-4DC4-BF76-EF38816F4F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2854347"/>
              </p:ext>
            </p:extLst>
          </p:nvPr>
        </p:nvGraphicFramePr>
        <p:xfrm>
          <a:off x="1524529" y="556320"/>
          <a:ext cx="6098117" cy="4048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93266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ven-layer model of the networ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12B686-F3BA-4186-8B2F-6C809E7E9E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283" y="1430440"/>
            <a:ext cx="3969160" cy="266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88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ven-layer protoco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BE7080-3C33-4BA4-97DD-9D2A0609CE52}"/>
              </a:ext>
            </a:extLst>
          </p:cNvPr>
          <p:cNvSpPr txBox="1"/>
          <p:nvPr/>
        </p:nvSpPr>
        <p:spPr>
          <a:xfrm>
            <a:off x="469131" y="1790464"/>
            <a:ext cx="4967708" cy="17358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C7746EA-9D01-407C-8378-5C39BFBAD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985" y="305454"/>
            <a:ext cx="4277840" cy="4715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731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0606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2574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9421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-introdu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r>
              <a:rPr lang="en-US" sz="1200" b="1" dirty="0"/>
              <a:t>Name:  </a:t>
            </a:r>
            <a:r>
              <a:rPr lang="zh-CN" altLang="en-US" sz="1200" dirty="0"/>
              <a:t>朱晓峰   </a:t>
            </a:r>
            <a:r>
              <a:rPr lang="en-US" altLang="zh-CN" sz="1200" dirty="0" err="1"/>
              <a:t>zhu</a:t>
            </a:r>
            <a:r>
              <a:rPr lang="en-US" altLang="zh-CN" sz="1200" dirty="0"/>
              <a:t> </a:t>
            </a:r>
            <a:r>
              <a:rPr lang="en-US" altLang="zh-CN" sz="1200" dirty="0" err="1"/>
              <a:t>xiaofeng</a:t>
            </a: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b="1" dirty="0"/>
              <a:t> </a:t>
            </a:r>
          </a:p>
          <a:p>
            <a:pPr algn="l">
              <a:lnSpc>
                <a:spcPct val="120000"/>
              </a:lnSpc>
            </a:pPr>
            <a:r>
              <a:rPr lang="en-US" sz="1200" b="1" dirty="0"/>
              <a:t>Birth:  </a:t>
            </a:r>
            <a:r>
              <a:rPr lang="en-US" sz="1200" dirty="0"/>
              <a:t>the year 1988</a:t>
            </a:r>
          </a:p>
          <a:p>
            <a:pPr algn="l">
              <a:lnSpc>
                <a:spcPct val="120000"/>
              </a:lnSpc>
            </a:pPr>
            <a:endParaRPr lang="en-US" sz="1200" dirty="0">
              <a:solidFill>
                <a:srgbClr val="333333"/>
              </a:solidFill>
            </a:endParaRPr>
          </a:p>
          <a:p>
            <a:pPr algn="l">
              <a:lnSpc>
                <a:spcPct val="120000"/>
              </a:lnSpc>
            </a:pPr>
            <a:r>
              <a:rPr lang="en-US" sz="1200" b="1" dirty="0">
                <a:solidFill>
                  <a:srgbClr val="333333"/>
                </a:solidFill>
              </a:rPr>
              <a:t> University: </a:t>
            </a:r>
            <a:r>
              <a:rPr lang="en-US" sz="1200" dirty="0">
                <a:solidFill>
                  <a:srgbClr val="333333"/>
                </a:solidFill>
              </a:rPr>
              <a:t>Shanghai University Of Engineering Science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b="1" dirty="0"/>
              <a:t> Address:  </a:t>
            </a:r>
            <a:r>
              <a:rPr lang="en-US" sz="1200" dirty="0"/>
              <a:t>Minhang District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r>
              <a:rPr lang="en-US" sz="1200" b="1" dirty="0"/>
              <a:t> Native place:  </a:t>
            </a:r>
            <a:r>
              <a:rPr lang="en-US" sz="1200" dirty="0"/>
              <a:t>Shanghai</a:t>
            </a:r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7358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8038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1563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5864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0617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1200" dirty="0">
                <a:latin typeface="+mn-lt"/>
              </a:rPr>
              <a:t>网络七层模型  五元组</a:t>
            </a:r>
            <a:br>
              <a:rPr lang="en-US" altLang="zh-CN" sz="1200" dirty="0">
                <a:latin typeface="+mn-lt"/>
              </a:rPr>
            </a:br>
            <a:r>
              <a:rPr lang="en-US" altLang="zh-CN" sz="1200" dirty="0">
                <a:latin typeface="+mn-lt"/>
              </a:rPr>
              <a:t>can</a:t>
            </a:r>
            <a:r>
              <a:rPr lang="zh-CN" altLang="en-US" sz="1200" dirty="0">
                <a:latin typeface="+mn-lt"/>
              </a:rPr>
              <a:t>协议</a:t>
            </a:r>
            <a:r>
              <a:rPr lang="en-US" sz="1200" b="0" i="0" dirty="0">
                <a:solidFill>
                  <a:srgbClr val="565C5E"/>
                </a:solidFill>
                <a:effectLst/>
                <a:latin typeface="+mn-lt"/>
              </a:rPr>
              <a:t>CAN</a:t>
            </a:r>
            <a:r>
              <a:rPr lang="zh-HK" altLang="en-US" sz="1200" b="0" i="0" dirty="0">
                <a:solidFill>
                  <a:srgbClr val="565C5E"/>
                </a:solidFill>
                <a:effectLst/>
                <a:latin typeface="+mn-lt"/>
              </a:rPr>
              <a:t>协议仅包括数据链路层（介质访问控制子层</a:t>
            </a:r>
            <a:r>
              <a:rPr lang="en-US" sz="1200" b="0" i="0" dirty="0">
                <a:solidFill>
                  <a:srgbClr val="565C5E"/>
                </a:solidFill>
                <a:effectLst/>
                <a:latin typeface="+mn-lt"/>
              </a:rPr>
              <a:t>MAC -Medium Access Control</a:t>
            </a:r>
            <a:r>
              <a:rPr lang="zh-HK" altLang="en-US" sz="1200" b="0" i="0" dirty="0">
                <a:solidFill>
                  <a:srgbClr val="565C5E"/>
                </a:solidFill>
                <a:effectLst/>
                <a:latin typeface="+mn-lt"/>
              </a:rPr>
              <a:t>和逻辑链路控制子层</a:t>
            </a:r>
            <a:r>
              <a:rPr lang="en-US" sz="1200" b="0" i="0" dirty="0">
                <a:solidFill>
                  <a:srgbClr val="565C5E"/>
                </a:solidFill>
                <a:effectLst/>
                <a:latin typeface="+mn-lt"/>
              </a:rPr>
              <a:t>LLC - Logical Link Control）</a:t>
            </a:r>
            <a:r>
              <a:rPr lang="zh-HK" altLang="en-US" sz="1200" b="0" i="0" dirty="0">
                <a:solidFill>
                  <a:srgbClr val="565C5E"/>
                </a:solidFill>
                <a:effectLst/>
                <a:latin typeface="+mn-lt"/>
              </a:rPr>
              <a:t>和物理层（物理信号</a:t>
            </a:r>
            <a:r>
              <a:rPr lang="en-US" sz="1200" b="0" i="0" dirty="0">
                <a:solidFill>
                  <a:srgbClr val="565C5E"/>
                </a:solidFill>
                <a:effectLst/>
                <a:latin typeface="+mn-lt"/>
              </a:rPr>
              <a:t>PLS - </a:t>
            </a:r>
            <a:r>
              <a:rPr lang="en-US" altLang="en-US" sz="1200" b="0" dirty="0">
                <a:solidFill>
                  <a:srgbClr val="565C5E"/>
                </a:solidFill>
                <a:latin typeface="+mn-lt"/>
              </a:rPr>
              <a:t>Physical Signaling）。</a:t>
            </a:r>
            <a:br>
              <a:rPr lang="en-US" sz="1200" b="0" i="0" dirty="0">
                <a:solidFill>
                  <a:srgbClr val="565C5E"/>
                </a:solidFill>
                <a:effectLst/>
                <a:latin typeface="+mn-lt"/>
              </a:rPr>
            </a:br>
            <a:r>
              <a:rPr lang="en-US" altLang="zh-CN" sz="1200" b="0" dirty="0">
                <a:solidFill>
                  <a:srgbClr val="565C5E"/>
                </a:solidFill>
                <a:latin typeface="+mn-lt"/>
              </a:rPr>
              <a:t>Can</a:t>
            </a:r>
            <a:r>
              <a:rPr lang="zh-CN" altLang="en-US" sz="1200" b="0" dirty="0">
                <a:solidFill>
                  <a:srgbClr val="565C5E"/>
                </a:solidFill>
                <a:latin typeface="+mn-lt"/>
              </a:rPr>
              <a:t>最大传输速率</a:t>
            </a:r>
            <a:r>
              <a:rPr lang="en-US" altLang="en-US" sz="1200" b="0" dirty="0">
                <a:solidFill>
                  <a:srgbClr val="565C5E"/>
                </a:solidFill>
                <a:latin typeface="+mn-lt"/>
              </a:rPr>
              <a:t>1Mbit/s</a:t>
            </a:r>
            <a:r>
              <a:rPr lang="zh-CN" altLang="en-US" sz="1200" b="0" dirty="0">
                <a:solidFill>
                  <a:srgbClr val="565C5E"/>
                </a:solidFill>
                <a:latin typeface="+mn-lt"/>
              </a:rPr>
              <a:t>，允许的最大长度是</a:t>
            </a:r>
            <a:r>
              <a:rPr lang="en-US" altLang="zh-CN" sz="1200" b="0" dirty="0">
                <a:solidFill>
                  <a:srgbClr val="565C5E"/>
                </a:solidFill>
                <a:latin typeface="+mn-lt"/>
              </a:rPr>
              <a:t>40</a:t>
            </a:r>
            <a:r>
              <a:rPr lang="zh-CN" altLang="en-US" sz="1200" b="0" dirty="0">
                <a:solidFill>
                  <a:srgbClr val="565C5E"/>
                </a:solidFill>
                <a:latin typeface="+mn-lt"/>
              </a:rPr>
              <a:t>米，</a:t>
            </a:r>
            <a:r>
              <a:rPr lang="en-US" altLang="zh-CN" sz="1200" b="0" dirty="0">
                <a:solidFill>
                  <a:srgbClr val="565C5E"/>
                </a:solidFill>
                <a:latin typeface="+mn-lt"/>
              </a:rPr>
              <a:t>CAN</a:t>
            </a:r>
            <a:r>
              <a:rPr lang="zh-CN" altLang="en-US" sz="1200" b="0" dirty="0">
                <a:solidFill>
                  <a:srgbClr val="565C5E"/>
                </a:solidFill>
                <a:latin typeface="+mn-lt"/>
              </a:rPr>
              <a:t>节点的最大数量也有限制。</a:t>
            </a:r>
            <a:br>
              <a:rPr lang="en-US" altLang="zh-CN" sz="1200" b="0" dirty="0">
                <a:solidFill>
                  <a:srgbClr val="565C5E"/>
                </a:solidFill>
                <a:latin typeface="+mn-lt"/>
              </a:rPr>
            </a:br>
            <a:endParaRPr lang="en-GB" altLang="en-US" sz="1200" b="0" dirty="0">
              <a:solidFill>
                <a:srgbClr val="565C5E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pic>
        <p:nvPicPr>
          <p:cNvPr id="7" name="Bildobjekt 2">
            <a:extLst>
              <a:ext uri="{FF2B5EF4-FFF2-40B4-BE49-F238E27FC236}">
                <a16:creationId xmlns:a16="http://schemas.microsoft.com/office/drawing/2014/main" id="{26729A9F-4E8B-DC49-A692-FE0AC70C01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3587" y="216483"/>
            <a:ext cx="900000" cy="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007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1ED31-C096-614C-A6C5-1D97C98AD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32401-DC65-FB4D-AB3E-027AAA2B19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altLang="zh-CN" dirty="0" err="1"/>
              <a:t>Vlan</a:t>
            </a:r>
            <a:r>
              <a:rPr lang="zh-CN" altLang="en-US" dirty="0"/>
              <a:t>的概念</a:t>
            </a:r>
            <a:endParaRPr lang="en-US" altLang="zh-CN" dirty="0"/>
          </a:p>
          <a:p>
            <a:r>
              <a:rPr lang="zh-CN" altLang="en-US" dirty="0"/>
              <a:t>单播 组播 广播</a:t>
            </a:r>
            <a:endParaRPr lang="en-US" altLang="zh-CN" dirty="0"/>
          </a:p>
          <a:p>
            <a:r>
              <a:rPr lang="en-US" b="0" i="0" dirty="0">
                <a:solidFill>
                  <a:srgbClr val="565C5E"/>
                </a:solidFill>
                <a:effectLst/>
                <a:latin typeface="+mn-lt"/>
              </a:rPr>
              <a:t>ARP, NDP, ICMP, IGMP, DHCP</a:t>
            </a:r>
          </a:p>
          <a:p>
            <a:r>
              <a:rPr lang="en-US" altLang="zh-CN" dirty="0"/>
              <a:t>TCP UDP</a:t>
            </a:r>
          </a:p>
          <a:p>
            <a:r>
              <a:rPr lang="en-US" altLang="zh-CN" dirty="0"/>
              <a:t>V4 v6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4A3DCB-FBF8-F449-AA88-DC668E2DE131}"/>
              </a:ext>
            </a:extLst>
          </p:cNvPr>
          <p:cNvSpPr>
            <a:spLocks noGrp="1"/>
          </p:cNvSpPr>
          <p:nvPr>
            <p:ph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B07637-B386-154A-9371-273BA5BD01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6AE8CA-A646-744F-AC0E-4FC121CEA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pic>
        <p:nvPicPr>
          <p:cNvPr id="4097" name="DefaultOcx">
            <a:extLst>
              <a:ext uri="{FF2B5EF4-FFF2-40B4-BE49-F238E27FC236}">
                <a16:creationId xmlns:a16="http://schemas.microsoft.com/office/drawing/2014/main" id="{1D396F64-C2DB-4566-B6AC-DAB328D6065E}"/>
              </a:ext>
            </a:extLst>
          </p:cNvPr>
          <p:cNvPicPr preferRelativeResize="0">
            <a:picLocks noChangeArrowheads="1" noChangeShapeType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" cy="228600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2069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1FDB6E-AA1C-482A-AE50-BF13452278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7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FAE8F5-8D05-49C7-BAC1-C9C8345C2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618" y="484808"/>
            <a:ext cx="8389937" cy="323540"/>
          </a:xfrm>
        </p:spPr>
        <p:txBody>
          <a:bodyPr/>
          <a:lstStyle/>
          <a:p>
            <a:r>
              <a:rPr lang="en-US" dirty="0"/>
              <a:t>I</a:t>
            </a:r>
            <a:r>
              <a:rPr lang="en-US" altLang="zh-CN" dirty="0"/>
              <a:t>nterest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9341AE-CAC2-4686-8079-1C5BA48A78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2A3CEA-D895-4B63-BD2C-A4F443758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 dirty="0"/>
              <a:t>Zhu </a:t>
            </a:r>
            <a:r>
              <a:rPr lang="en-US" altLang="zh-CN" dirty="0" err="1"/>
              <a:t>Xiaofeng’s</a:t>
            </a:r>
            <a:r>
              <a:rPr lang="en-US" altLang="zh-CN" dirty="0"/>
              <a:t> sharing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0BBCEF-39D5-4DDC-A695-81E71A496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9611" y="3076601"/>
            <a:ext cx="3186608" cy="18186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7355A3-6103-4B3D-BD20-79FD2E19E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9611" y="834531"/>
            <a:ext cx="3114600" cy="2027436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C8DF30D0-A928-4612-BD42-EE6416EAFD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489" y="834531"/>
            <a:ext cx="3244147" cy="2027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E1F4A0E-16D0-4872-9E8B-498935C250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824" y="3050070"/>
            <a:ext cx="3244147" cy="1845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48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5" y="627221"/>
            <a:ext cx="8389937" cy="323540"/>
          </a:xfrm>
        </p:spPr>
        <p:txBody>
          <a:bodyPr/>
          <a:lstStyle/>
          <a:p>
            <a:r>
              <a:rPr lang="en-US" dirty="0"/>
              <a:t>work experien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EEDF5891-C0CD-4DC2-821B-B097B32E6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167" y="1015816"/>
            <a:ext cx="1512168" cy="80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B26EC60-1FC7-4113-9F84-4604272DC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2797" y="2572544"/>
            <a:ext cx="1872208" cy="17521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6F83DCA-A4FC-4DF1-A7F9-134FBCA21349}"/>
              </a:ext>
            </a:extLst>
          </p:cNvPr>
          <p:cNvSpPr txBox="1"/>
          <p:nvPr/>
        </p:nvSpPr>
        <p:spPr>
          <a:xfrm>
            <a:off x="4520083" y="1178176"/>
            <a:ext cx="3744416" cy="27597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ZTE Corp., China's largest listed telecommunications equipment company.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Main products include: 2 g / 3 g / 4 g / 5 g wireless base station and core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network, IMS, fixed network access and hosting, chip, optical network, 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high-end routers, intelligent switches, enterprise network, big data, cloud 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computing, data center, mobile phone and domestic terminal, wisdom,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ICT business city, as well as aviation, railway and urban rail transit signal</a:t>
            </a:r>
          </a:p>
          <a:p>
            <a:pPr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transmission equipment.</a:t>
            </a:r>
            <a:endParaRPr lang="en-US" sz="1000" dirty="0">
              <a:latin typeface="Volvo Novum Light" panose="020B0303040502060204" pitchFamily="34" charset="77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9C284B-BA4D-409D-BFB2-6C33FB99C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139" y="1924471"/>
            <a:ext cx="3750363" cy="243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72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593858"/>
            <a:ext cx="8389937" cy="323540"/>
          </a:xfrm>
        </p:spPr>
        <p:txBody>
          <a:bodyPr/>
          <a:lstStyle/>
          <a:p>
            <a:r>
              <a:rPr lang="en-US" dirty="0"/>
              <a:t>work experien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57E99D-EF27-4947-A9D4-C459F1CCC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613" y="1024236"/>
            <a:ext cx="3024336" cy="13755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A0001B-FCAC-4929-B7C2-87755D0BDF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958" y="2235161"/>
            <a:ext cx="1347056" cy="20882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4A2A30-4B7F-4E4A-9B04-864AC916BA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7631" y="656628"/>
            <a:ext cx="4908487" cy="2110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DB791C-F8EC-42A8-9C62-2D4E28B459CA}"/>
              </a:ext>
            </a:extLst>
          </p:cNvPr>
          <p:cNvSpPr txBox="1"/>
          <p:nvPr/>
        </p:nvSpPr>
        <p:spPr>
          <a:xfrm>
            <a:off x="4141539" y="3436640"/>
            <a:ext cx="3888432" cy="1296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Founded in 1984, Shanghai Bell Co., Ltd. is a directly subordinate 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enterprise of State-owned Assets Supervision and Administration 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Commission of the State Council, and is the first joint-stock company</a:t>
            </a:r>
          </a:p>
          <a:p>
            <a:pPr algn="l">
              <a:lnSpc>
                <a:spcPct val="120000"/>
              </a:lnSpc>
            </a:pPr>
            <a:r>
              <a:rPr lang="en-US" sz="10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 with foreign investment in China's high-tech field</a:t>
            </a:r>
          </a:p>
          <a:p>
            <a:pPr algn="l">
              <a:lnSpc>
                <a:spcPct val="120000"/>
              </a:lnSpc>
            </a:pPr>
            <a:endParaRPr lang="en-US" sz="1000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pPr algn="l">
              <a:lnSpc>
                <a:spcPct val="120000"/>
              </a:lnSpc>
            </a:pPr>
            <a:r>
              <a:rPr lang="en-US" sz="11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Bell invented the telephone </a:t>
            </a:r>
            <a:r>
              <a:rPr lang="en-US" altLang="zh-CN" sz="1100" b="1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in 1876</a:t>
            </a:r>
          </a:p>
          <a:p>
            <a:pPr>
              <a:lnSpc>
                <a:spcPct val="120000"/>
              </a:lnSpc>
            </a:pPr>
            <a:r>
              <a:rPr lang="en-US" sz="1000" dirty="0">
                <a:solidFill>
                  <a:srgbClr val="333333"/>
                </a:solidFill>
                <a:latin typeface="Arial" panose="020B0604020202020204" pitchFamily="34" charset="0"/>
              </a:rPr>
              <a:t>Bell LABS has won more than 25,000 patents and eight (13) Nobel Prizes in tot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5558497-612F-46FD-8B78-382BBBA9BB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8256" y="3276031"/>
            <a:ext cx="1715041" cy="127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41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o-Etherne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5CCE20-520E-4A1E-9BFA-A42E94FD4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363" y="1195767"/>
            <a:ext cx="7876117" cy="385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23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  introduction	(ZTE  Nokia-Bell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28600" indent="-228600" algn="l">
              <a:lnSpc>
                <a:spcPct val="120000"/>
              </a:lnSpc>
              <a:buAutoNum type="arabicPeriod"/>
            </a:pPr>
            <a:r>
              <a:rPr lang="en-US" sz="1200" dirty="0"/>
              <a:t>Base on Linux</a:t>
            </a:r>
          </a:p>
          <a:p>
            <a:pPr marL="228600" indent="-228600" algn="l">
              <a:lnSpc>
                <a:spcPct val="120000"/>
              </a:lnSpc>
              <a:buAutoNum type="arabicPeriod"/>
            </a:pPr>
            <a:r>
              <a:rPr lang="en-US" sz="1200" dirty="0"/>
              <a:t>Python</a:t>
            </a:r>
          </a:p>
          <a:p>
            <a:pPr marL="228600" indent="-228600" algn="l">
              <a:lnSpc>
                <a:spcPct val="120000"/>
              </a:lnSpc>
              <a:buAutoNum type="arabicPeriod"/>
            </a:pPr>
            <a:r>
              <a:rPr lang="en-US" sz="1200" dirty="0" err="1"/>
              <a:t>Robotframework</a:t>
            </a:r>
            <a:endParaRPr lang="en-US" sz="1200" dirty="0"/>
          </a:p>
          <a:p>
            <a:pPr marL="228600" indent="-228600" algn="l">
              <a:lnSpc>
                <a:spcPct val="120000"/>
              </a:lnSpc>
              <a:buAutoNum type="arabicPeriod"/>
            </a:pPr>
            <a:r>
              <a:rPr lang="en-US" sz="1200" dirty="0"/>
              <a:t>Jenkins</a:t>
            </a:r>
          </a:p>
          <a:p>
            <a:pPr marL="228600" indent="-228600" algn="l">
              <a:lnSpc>
                <a:spcPct val="120000"/>
              </a:lnSpc>
              <a:buAutoNum type="arabicPeriod"/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0870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973187" y="1559938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2491BB-8C09-4139-9065-4F700C03F3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155" y="1564432"/>
            <a:ext cx="3297429" cy="160182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0BF5389-B99A-402F-89AA-A9AF07935FB2}"/>
              </a:ext>
            </a:extLst>
          </p:cNvPr>
          <p:cNvSpPr/>
          <p:nvPr/>
        </p:nvSpPr>
        <p:spPr>
          <a:xfrm>
            <a:off x="5725715" y="844352"/>
            <a:ext cx="2448272" cy="64807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Jenkins Master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CA7AEF39-DAA4-4A16-B912-A75DA2721FAA}"/>
              </a:ext>
            </a:extLst>
          </p:cNvPr>
          <p:cNvSpPr/>
          <p:nvPr/>
        </p:nvSpPr>
        <p:spPr>
          <a:xfrm>
            <a:off x="6805835" y="1492424"/>
            <a:ext cx="288032" cy="50405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E04A039-28A8-41BC-822E-E9F2DDFF8E6A}"/>
              </a:ext>
            </a:extLst>
          </p:cNvPr>
          <p:cNvSpPr/>
          <p:nvPr/>
        </p:nvSpPr>
        <p:spPr>
          <a:xfrm>
            <a:off x="4789611" y="2284512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13BD247-160D-4A9B-9711-655E25E6EE93}"/>
              </a:ext>
            </a:extLst>
          </p:cNvPr>
          <p:cNvSpPr/>
          <p:nvPr/>
        </p:nvSpPr>
        <p:spPr>
          <a:xfrm>
            <a:off x="5803077" y="2284512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2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7D63B51-AEFF-47A5-A334-166780891291}"/>
              </a:ext>
            </a:extLst>
          </p:cNvPr>
          <p:cNvSpPr/>
          <p:nvPr/>
        </p:nvSpPr>
        <p:spPr>
          <a:xfrm>
            <a:off x="6877843" y="2294446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3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87C5569-94D2-4C5D-BEA8-A3C683D18D7B}"/>
              </a:ext>
            </a:extLst>
          </p:cNvPr>
          <p:cNvSpPr/>
          <p:nvPr/>
        </p:nvSpPr>
        <p:spPr>
          <a:xfrm>
            <a:off x="8037801" y="2284512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458B35B-9083-47A6-8C63-29EC6C85DBD2}"/>
              </a:ext>
            </a:extLst>
          </p:cNvPr>
          <p:cNvSpPr/>
          <p:nvPr/>
        </p:nvSpPr>
        <p:spPr>
          <a:xfrm>
            <a:off x="4768548" y="2827321"/>
            <a:ext cx="747816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5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15E1044-7749-438E-89D8-77098618F83B}"/>
              </a:ext>
            </a:extLst>
          </p:cNvPr>
          <p:cNvSpPr/>
          <p:nvPr/>
        </p:nvSpPr>
        <p:spPr>
          <a:xfrm>
            <a:off x="8030220" y="2827321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8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F541995-6116-4A8A-BC4C-138E18192DA4}"/>
              </a:ext>
            </a:extLst>
          </p:cNvPr>
          <p:cNvSpPr/>
          <p:nvPr/>
        </p:nvSpPr>
        <p:spPr>
          <a:xfrm>
            <a:off x="6926671" y="2827321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7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5C41161-2990-48A8-8DDD-E411D0EBEF31}"/>
              </a:ext>
            </a:extLst>
          </p:cNvPr>
          <p:cNvSpPr/>
          <p:nvPr/>
        </p:nvSpPr>
        <p:spPr>
          <a:xfrm>
            <a:off x="5829795" y="2827321"/>
            <a:ext cx="720080" cy="21602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env6</a:t>
            </a:r>
          </a:p>
        </p:txBody>
      </p:sp>
    </p:spTree>
    <p:extLst>
      <p:ext uri="{BB962C8B-B14F-4D97-AF65-F5344CB8AC3E}">
        <p14:creationId xmlns:p14="http://schemas.microsoft.com/office/powerpoint/2010/main" val="270905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F179D6-C8F5-4099-8FF5-8326B3C0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types of notific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8D7CA-BFC3-40B1-B2ED-2AD44B3095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022/7/10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EB9C3-1498-4E38-8E04-0510B57C2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Zhu Xiaofeng’s sharin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4E542-1FA2-45E3-A164-DD53BAE79C20}"/>
              </a:ext>
            </a:extLst>
          </p:cNvPr>
          <p:cNvSpPr txBox="1"/>
          <p:nvPr/>
        </p:nvSpPr>
        <p:spPr>
          <a:xfrm>
            <a:off x="469131" y="1492424"/>
            <a:ext cx="8090544" cy="2545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  <a:p>
            <a:pPr algn="l">
              <a:lnSpc>
                <a:spcPct val="120000"/>
              </a:lnSpc>
            </a:pPr>
            <a:endParaRPr lang="en-US" sz="1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C6F4DA-BAE5-4384-A155-0CDB6BE9980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763" y="1492424"/>
            <a:ext cx="1566397" cy="2550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5A016F-2C01-4464-866C-CF24B10F2E42}"/>
              </a:ext>
            </a:extLst>
          </p:cNvPr>
          <p:cNvPicPr/>
          <p:nvPr/>
        </p:nvPicPr>
        <p:blipFill rotWithShape="1">
          <a:blip r:embed="rId3"/>
          <a:srcRect r="22924"/>
          <a:stretch/>
        </p:blipFill>
        <p:spPr bwMode="auto">
          <a:xfrm>
            <a:off x="901179" y="1852464"/>
            <a:ext cx="4032448" cy="206387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7645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lvo Cars">
  <a:themeElements>
    <a:clrScheme name="Volvo Ca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3D567E"/>
      </a:accent1>
      <a:accent2>
        <a:srgbClr val="8897AF"/>
      </a:accent2>
      <a:accent3>
        <a:srgbClr val="A13432"/>
      </a:accent3>
      <a:accent4>
        <a:srgbClr val="D7A49C"/>
      </a:accent4>
      <a:accent5>
        <a:srgbClr val="68875C"/>
      </a:accent5>
      <a:accent6>
        <a:srgbClr val="A4AE9B"/>
      </a:accent6>
      <a:hlink>
        <a:srgbClr val="3D567E"/>
      </a:hlink>
      <a:folHlink>
        <a:srgbClr val="8897AF"/>
      </a:folHlink>
    </a:clrScheme>
    <a:fontScheme name="Custom 3">
      <a:majorFont>
        <a:latin typeface="Volvo Novum"/>
        <a:ea typeface="Microsoft YaHei"/>
        <a:cs typeface=""/>
      </a:majorFont>
      <a:minorFont>
        <a:latin typeface="Volvo Novum"/>
        <a:ea typeface="Microsoft YaHei Light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20000"/>
          </a:lnSpc>
          <a:defRPr sz="1200" dirty="0">
            <a:latin typeface="Volvo Novum Light" panose="020B0303040502060204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olvo_Cars_Presentation_CNVersion_R6" id="{7F5F5F34-155A-47DA-9E28-D8575E3075C3}" vid="{23A56D8B-E936-4A37-9858-D4CDC3A3F7E2}"/>
    </a:ext>
  </a:extLst>
</a:theme>
</file>

<file path=ppt/theme/theme2.xml><?xml version="1.0" encoding="utf-8"?>
<a:theme xmlns:a="http://schemas.openxmlformats.org/drawingml/2006/main" name="Volvo Cars (dark theme)">
  <a:themeElements>
    <a:clrScheme name="Volvo colours">
      <a:dk1>
        <a:srgbClr val="000000"/>
      </a:dk1>
      <a:lt1>
        <a:srgbClr val="FFFFFF"/>
      </a:lt1>
      <a:dk2>
        <a:srgbClr val="252A3A"/>
      </a:dk2>
      <a:lt2>
        <a:srgbClr val="3D567E"/>
      </a:lt2>
      <a:accent1>
        <a:srgbClr val="BF834B"/>
      </a:accent1>
      <a:accent2>
        <a:srgbClr val="D9B48B"/>
      </a:accent2>
      <a:accent3>
        <a:srgbClr val="A13432"/>
      </a:accent3>
      <a:accent4>
        <a:srgbClr val="D7A49C"/>
      </a:accent4>
      <a:accent5>
        <a:srgbClr val="68875C"/>
      </a:accent5>
      <a:accent6>
        <a:srgbClr val="A4AE9B"/>
      </a:accent6>
      <a:hlink>
        <a:srgbClr val="8897AF"/>
      </a:hlink>
      <a:folHlink>
        <a:srgbClr val="BFC8D2"/>
      </a:folHlink>
    </a:clrScheme>
    <a:fontScheme name="Volvo Theme">
      <a:majorFont>
        <a:latin typeface="Volvo Novum Light"/>
        <a:ea typeface="Microsoft YaHei"/>
        <a:cs typeface=""/>
      </a:majorFont>
      <a:minorFont>
        <a:latin typeface="Volvo Novum Light"/>
        <a:ea typeface="Microsoft YaHei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20000"/>
          </a:lnSpc>
          <a:defRPr sz="1200" dirty="0">
            <a:latin typeface="Volvo Novum Light" panose="020B0303040502060204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olvo_Cars_Presentation_CNVersion_R6" id="{7F5F5F34-155A-47DA-9E28-D8575E3075C3}" vid="{BA987E7A-614E-4721-8084-820611CE4E7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Volvo Novum Light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Volvo Novum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Volvo Novum Light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Volvo Novum Light"/>
        <a:font script="Hebr" typeface="Volvo Novum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olvo Novum Light"/>
        <a:font script="Uigh" typeface="Microsoft Uighur"/>
        <a:font script="Geor" typeface="Sylfaen"/>
        <a:font script="Armn" typeface="Volvo Novum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Volvo Novum Light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Volvo Novum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Volvo Novum Light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Volvo Novum Light"/>
        <a:font script="Hebr" typeface="Volvo Novum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olvo Novum Light"/>
        <a:font script="Uigh" typeface="Microsoft Uighur"/>
        <a:font script="Geor" typeface="Sylfaen"/>
        <a:font script="Armn" typeface="Volvo Novum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51</TotalTime>
  <Words>564</Words>
  <Application>Microsoft Office PowerPoint</Application>
  <PresentationFormat>Custom</PresentationFormat>
  <Paragraphs>154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Microsoft YaHei</vt:lpstr>
      <vt:lpstr>Volvo Novum Medium</vt:lpstr>
      <vt:lpstr>Volvo Novum Light</vt:lpstr>
      <vt:lpstr>Volvo Novum</vt:lpstr>
      <vt:lpstr>Arial</vt:lpstr>
      <vt:lpstr>Volvo Cars</vt:lpstr>
      <vt:lpstr>Volvo Cars (dark theme)</vt:lpstr>
      <vt:lpstr>think-cell Slide</vt:lpstr>
      <vt:lpstr>Zhu Xiaofeng’s sharing</vt:lpstr>
      <vt:lpstr>Self-introduction</vt:lpstr>
      <vt:lpstr>Interest</vt:lpstr>
      <vt:lpstr>work experience</vt:lpstr>
      <vt:lpstr>work experience</vt:lpstr>
      <vt:lpstr>Topo-Ethernet</vt:lpstr>
      <vt:lpstr>AT  introduction (ZTE  Nokia-Bell)</vt:lpstr>
      <vt:lpstr>Topo</vt:lpstr>
      <vt:lpstr>Two types of notification</vt:lpstr>
      <vt:lpstr>Analysis  AT log</vt:lpstr>
      <vt:lpstr>Enter the cause of failure</vt:lpstr>
      <vt:lpstr>PowerPoint Presentation</vt:lpstr>
      <vt:lpstr>Ethernet’s history</vt:lpstr>
      <vt:lpstr>Comparison between Ethernet &amp; CAN</vt:lpstr>
      <vt:lpstr>Seven-layer model of the network</vt:lpstr>
      <vt:lpstr>Seven-layer protoc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网络七层模型  五元组 can协议CAN协议仅包括数据链路层（介质访问控制子层MAC -Medium Access Control和逻辑链路控制子层LLC - Logical Link Control）和物理层（物理信号PLS - Physical Signaling）。 Can最大传输速率1Mbit/s，允许的最大长度是40米，CAN节点的最大数量也有限制。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Tse</dc:creator>
  <cp:lastModifiedBy>Zhu, Xiaofeng</cp:lastModifiedBy>
  <cp:revision>113</cp:revision>
  <dcterms:created xsi:type="dcterms:W3CDTF">2019-08-02T04:28:39Z</dcterms:created>
  <dcterms:modified xsi:type="dcterms:W3CDTF">2022-07-02T11:5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ea2623-af8f-4fb8-b1cf-b63cc8e496aa_Enabled">
    <vt:lpwstr>true</vt:lpwstr>
  </property>
  <property fmtid="{D5CDD505-2E9C-101B-9397-08002B2CF9AE}" pid="3" name="MSIP_Label_7fea2623-af8f-4fb8-b1cf-b63cc8e496aa_SetDate">
    <vt:lpwstr>2022-06-22T06:14:58Z</vt:lpwstr>
  </property>
  <property fmtid="{D5CDD505-2E9C-101B-9397-08002B2CF9AE}" pid="4" name="MSIP_Label_7fea2623-af8f-4fb8-b1cf-b63cc8e496aa_Method">
    <vt:lpwstr>Standard</vt:lpwstr>
  </property>
  <property fmtid="{D5CDD505-2E9C-101B-9397-08002B2CF9AE}" pid="5" name="MSIP_Label_7fea2623-af8f-4fb8-b1cf-b63cc8e496aa_Name">
    <vt:lpwstr>Internal</vt:lpwstr>
  </property>
  <property fmtid="{D5CDD505-2E9C-101B-9397-08002B2CF9AE}" pid="6" name="MSIP_Label_7fea2623-af8f-4fb8-b1cf-b63cc8e496aa_SiteId">
    <vt:lpwstr>81fa766e-a349-4867-8bf4-ab35e250a08f</vt:lpwstr>
  </property>
  <property fmtid="{D5CDD505-2E9C-101B-9397-08002B2CF9AE}" pid="7" name="MSIP_Label_7fea2623-af8f-4fb8-b1cf-b63cc8e496aa_ContentBits">
    <vt:lpwstr>0</vt:lpwstr>
  </property>
</Properties>
</file>